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7" r:id="rId2"/>
    <p:sldId id="261" r:id="rId3"/>
    <p:sldId id="274" r:id="rId4"/>
    <p:sldId id="284" r:id="rId5"/>
    <p:sldId id="276" r:id="rId6"/>
    <p:sldId id="285" r:id="rId7"/>
    <p:sldId id="275" r:id="rId8"/>
  </p:sldIdLst>
  <p:sldSz cx="12192000" cy="6858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Maersk Headline Light" panose="00000400000000000000" pitchFamily="2" charset="0"/>
      <p:regular r:id="rId15"/>
      <p:italic r:id="rId16"/>
    </p:embeddedFont>
    <p:embeddedFont>
      <p:font typeface="Maersk Headline Office" panose="00000500000000000000" pitchFamily="2" charset="0"/>
      <p:regular r:id="rId17"/>
      <p:bold r:id="rId18"/>
      <p:italic r:id="rId19"/>
      <p:boldItalic r:id="rId20"/>
    </p:embeddedFont>
    <p:embeddedFont>
      <p:font typeface="Maersk Text" panose="00000500000000000000" pitchFamily="2" charset="0"/>
      <p:regular r:id="rId21"/>
      <p:bold r:id="rId22"/>
      <p:italic r:id="rId23"/>
      <p:boldItalic r:id="rId24"/>
    </p:embeddedFont>
    <p:embeddedFont>
      <p:font typeface="Maersk Text Light" panose="00000400000000000000" pitchFamily="2" charset="0"/>
      <p:regular r:id="rId25"/>
    </p:embeddedFont>
    <p:embeddedFont>
      <p:font typeface="Maersk Text Office" panose="00000500000000000000" pitchFamily="2" charset="0"/>
      <p:regular r:id="rId26"/>
      <p:bold r:id="rId27"/>
    </p:embeddedFont>
    <p:embeddedFont>
      <p:font typeface="Maersk Text Office Light" panose="00000400000000000000" pitchFamily="2" charset="0"/>
      <p:regular r:id="rId28"/>
      <p:italic r:id="rId29"/>
    </p:embeddedFont>
    <p:embeddedFont>
      <p:font typeface="Oxygen" panose="02000503000000000000" pitchFamily="2" charset="0"/>
      <p:regular r:id="rId30"/>
      <p:bold r:id="rId3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953373-38D1-47C7-AE8C-1171E8295BA4}" v="13" dt="2023-03-15T14:27:38.014"/>
    <p1510:client id="{49736047-B68A-4837-8F33-99748D7BF74B}" v="11" dt="2023-03-16T04:07:49.999"/>
  </p1510:revLst>
</p1510:revInfo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041" autoAdjust="0"/>
    <p:restoredTop sz="83921" autoAdjust="0"/>
  </p:normalViewPr>
  <p:slideViewPr>
    <p:cSldViewPr snapToGrid="0" showGuides="1">
      <p:cViewPr varScale="1">
        <p:scale>
          <a:sx n="53" d="100"/>
          <a:sy n="53" d="100"/>
        </p:scale>
        <p:origin x="868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204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font" Target="fonts/font1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font" Target="fonts/font18.fntdata"/><Relationship Id="rId36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31" Type="http://schemas.openxmlformats.org/officeDocument/2006/relationships/font" Target="fonts/font21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font" Target="fonts/font17.fntdata"/><Relationship Id="rId30" Type="http://schemas.openxmlformats.org/officeDocument/2006/relationships/font" Target="fonts/font20.fntdata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as Vaid" userId="891e82a3-fb99-411e-a23a-94ecb862019d" providerId="ADAL" clId="{13953373-38D1-47C7-AE8C-1171E8295BA4}"/>
    <pc:docChg chg="undo custSel delSld modSld">
      <pc:chgData name="Manas Vaid" userId="891e82a3-fb99-411e-a23a-94ecb862019d" providerId="ADAL" clId="{13953373-38D1-47C7-AE8C-1171E8295BA4}" dt="2023-03-15T14:28:47.081" v="1303" actId="20577"/>
      <pc:docMkLst>
        <pc:docMk/>
      </pc:docMkLst>
      <pc:sldChg chg="del modNotesTx">
        <pc:chgData name="Manas Vaid" userId="891e82a3-fb99-411e-a23a-94ecb862019d" providerId="ADAL" clId="{13953373-38D1-47C7-AE8C-1171E8295BA4}" dt="2023-03-15T14:28:43.024" v="1297" actId="47"/>
        <pc:sldMkLst>
          <pc:docMk/>
          <pc:sldMk cId="2861150089" sldId="260"/>
        </pc:sldMkLst>
      </pc:sldChg>
      <pc:sldChg chg="modNotesTx">
        <pc:chgData name="Manas Vaid" userId="891e82a3-fb99-411e-a23a-94ecb862019d" providerId="ADAL" clId="{13953373-38D1-47C7-AE8C-1171E8295BA4}" dt="2023-03-15T14:28:47.081" v="1303" actId="20577"/>
        <pc:sldMkLst>
          <pc:docMk/>
          <pc:sldMk cId="3229545333" sldId="274"/>
        </pc:sldMkLst>
      </pc:sldChg>
      <pc:sldChg chg="delSp modSp mod">
        <pc:chgData name="Manas Vaid" userId="891e82a3-fb99-411e-a23a-94ecb862019d" providerId="ADAL" clId="{13953373-38D1-47C7-AE8C-1171E8295BA4}" dt="2023-03-15T13:56:49.107" v="769" actId="313"/>
        <pc:sldMkLst>
          <pc:docMk/>
          <pc:sldMk cId="3515996137" sldId="276"/>
        </pc:sldMkLst>
        <pc:spChg chg="mod">
          <ac:chgData name="Manas Vaid" userId="891e82a3-fb99-411e-a23a-94ecb862019d" providerId="ADAL" clId="{13953373-38D1-47C7-AE8C-1171E8295BA4}" dt="2023-03-15T13:56:49.107" v="769" actId="313"/>
          <ac:spMkLst>
            <pc:docMk/>
            <pc:sldMk cId="3515996137" sldId="276"/>
            <ac:spMk id="3" creationId="{7BB0BD2A-6CCD-43F2-9354-EDADAA3D09F1}"/>
          </ac:spMkLst>
        </pc:spChg>
        <pc:spChg chg="del mod">
          <ac:chgData name="Manas Vaid" userId="891e82a3-fb99-411e-a23a-94ecb862019d" providerId="ADAL" clId="{13953373-38D1-47C7-AE8C-1171E8295BA4}" dt="2023-03-15T13:56:40.172" v="766" actId="478"/>
          <ac:spMkLst>
            <pc:docMk/>
            <pc:sldMk cId="3515996137" sldId="276"/>
            <ac:spMk id="8" creationId="{9C79DCEE-7546-44B9-8B91-17250C515FE8}"/>
          </ac:spMkLst>
        </pc:spChg>
      </pc:sldChg>
      <pc:sldChg chg="addSp delSp modSp mod modAnim modNotesTx">
        <pc:chgData name="Manas Vaid" userId="891e82a3-fb99-411e-a23a-94ecb862019d" providerId="ADAL" clId="{13953373-38D1-47C7-AE8C-1171E8295BA4}" dt="2023-03-15T13:51:53.263" v="559"/>
        <pc:sldMkLst>
          <pc:docMk/>
          <pc:sldMk cId="1320037899" sldId="284"/>
        </pc:sldMkLst>
        <pc:spChg chg="add del mod">
          <ac:chgData name="Manas Vaid" userId="891e82a3-fb99-411e-a23a-94ecb862019d" providerId="ADAL" clId="{13953373-38D1-47C7-AE8C-1171E8295BA4}" dt="2023-03-15T13:24:04.331" v="10"/>
          <ac:spMkLst>
            <pc:docMk/>
            <pc:sldMk cId="1320037899" sldId="284"/>
            <ac:spMk id="4" creationId="{96CE4D2E-8B3E-4F80-A503-CCA0DD02B2AB}"/>
          </ac:spMkLst>
        </pc:spChg>
        <pc:spChg chg="add del mod">
          <ac:chgData name="Manas Vaid" userId="891e82a3-fb99-411e-a23a-94ecb862019d" providerId="ADAL" clId="{13953373-38D1-47C7-AE8C-1171E8295BA4}" dt="2023-03-15T13:24:04.333" v="12"/>
          <ac:spMkLst>
            <pc:docMk/>
            <pc:sldMk cId="1320037899" sldId="284"/>
            <ac:spMk id="5" creationId="{DE4BBE72-28FD-4FE7-BBA5-B28DD3547198}"/>
          </ac:spMkLst>
        </pc:spChg>
        <pc:spChg chg="add mod">
          <ac:chgData name="Manas Vaid" userId="891e82a3-fb99-411e-a23a-94ecb862019d" providerId="ADAL" clId="{13953373-38D1-47C7-AE8C-1171E8295BA4}" dt="2023-03-15T13:51:43.124" v="558" actId="20577"/>
          <ac:spMkLst>
            <pc:docMk/>
            <pc:sldMk cId="1320037899" sldId="284"/>
            <ac:spMk id="8" creationId="{C4EA5B1A-5B31-4ECE-8B25-CEC1E04DB446}"/>
          </ac:spMkLst>
        </pc:spChg>
        <pc:spChg chg="mod">
          <ac:chgData name="Manas Vaid" userId="891e82a3-fb99-411e-a23a-94ecb862019d" providerId="ADAL" clId="{13953373-38D1-47C7-AE8C-1171E8295BA4}" dt="2023-03-15T13:43:20.944" v="14" actId="1076"/>
          <ac:spMkLst>
            <pc:docMk/>
            <pc:sldMk cId="1320037899" sldId="284"/>
            <ac:spMk id="109" creationId="{CE7F9CE3-BB32-4570-B4BA-5875B72FF791}"/>
          </ac:spMkLst>
        </pc:spChg>
      </pc:sldChg>
      <pc:sldChg chg="addSp delSp modSp mod">
        <pc:chgData name="Manas Vaid" userId="891e82a3-fb99-411e-a23a-94ecb862019d" providerId="ADAL" clId="{13953373-38D1-47C7-AE8C-1171E8295BA4}" dt="2023-03-15T14:27:38.001" v="1295" actId="20577"/>
        <pc:sldMkLst>
          <pc:docMk/>
          <pc:sldMk cId="3923657261" sldId="285"/>
        </pc:sldMkLst>
        <pc:spChg chg="mod">
          <ac:chgData name="Manas Vaid" userId="891e82a3-fb99-411e-a23a-94ecb862019d" providerId="ADAL" clId="{13953373-38D1-47C7-AE8C-1171E8295BA4}" dt="2023-03-15T13:56:31.456" v="764"/>
          <ac:spMkLst>
            <pc:docMk/>
            <pc:sldMk cId="3923657261" sldId="285"/>
            <ac:spMk id="2" creationId="{5C507446-93F1-4663-9199-8EBD51F6715D}"/>
          </ac:spMkLst>
        </pc:spChg>
        <pc:spChg chg="mod">
          <ac:chgData name="Manas Vaid" userId="891e82a3-fb99-411e-a23a-94ecb862019d" providerId="ADAL" clId="{13953373-38D1-47C7-AE8C-1171E8295BA4}" dt="2023-03-15T14:03:42.610" v="920" actId="20577"/>
          <ac:spMkLst>
            <pc:docMk/>
            <pc:sldMk cId="3923657261" sldId="285"/>
            <ac:spMk id="3" creationId="{7BB0BD2A-6CCD-43F2-9354-EDADAA3D09F1}"/>
          </ac:spMkLst>
        </pc:spChg>
        <pc:spChg chg="del">
          <ac:chgData name="Manas Vaid" userId="891e82a3-fb99-411e-a23a-94ecb862019d" providerId="ADAL" clId="{13953373-38D1-47C7-AE8C-1171E8295BA4}" dt="2023-03-15T13:57:21.395" v="770" actId="478"/>
          <ac:spMkLst>
            <pc:docMk/>
            <pc:sldMk cId="3923657261" sldId="285"/>
            <ac:spMk id="8" creationId="{9C79DCEE-7546-44B9-8B91-17250C515FE8}"/>
          </ac:spMkLst>
        </pc:spChg>
        <pc:spChg chg="add mod">
          <ac:chgData name="Manas Vaid" userId="891e82a3-fb99-411e-a23a-94ecb862019d" providerId="ADAL" clId="{13953373-38D1-47C7-AE8C-1171E8295BA4}" dt="2023-03-15T14:27:38.001" v="1295" actId="20577"/>
          <ac:spMkLst>
            <pc:docMk/>
            <pc:sldMk cId="3923657261" sldId="285"/>
            <ac:spMk id="9" creationId="{83C937D2-F696-4E3B-81A1-AED26E6FC92C}"/>
          </ac:spMkLst>
        </pc:spChg>
      </pc:sldChg>
    </pc:docChg>
  </pc:docChgLst>
  <pc:docChgLst>
    <pc:chgData name="Manas Vaid" userId="891e82a3-fb99-411e-a23a-94ecb862019d" providerId="ADAL" clId="{49736047-B68A-4837-8F33-99748D7BF74B}"/>
    <pc:docChg chg="undo custSel addSld delSld modSld sldOrd">
      <pc:chgData name="Manas Vaid" userId="891e82a3-fb99-411e-a23a-94ecb862019d" providerId="ADAL" clId="{49736047-B68A-4837-8F33-99748D7BF74B}" dt="2023-03-16T04:07:49.998" v="2563" actId="20577"/>
      <pc:docMkLst>
        <pc:docMk/>
      </pc:docMkLst>
      <pc:sldChg chg="modSp mod modNotesTx">
        <pc:chgData name="Manas Vaid" userId="891e82a3-fb99-411e-a23a-94ecb862019d" providerId="ADAL" clId="{49736047-B68A-4837-8F33-99748D7BF74B}" dt="2023-03-16T04:00:21.022" v="2415" actId="6549"/>
        <pc:sldMkLst>
          <pc:docMk/>
          <pc:sldMk cId="741033017" sldId="257"/>
        </pc:sldMkLst>
        <pc:spChg chg="mod">
          <ac:chgData name="Manas Vaid" userId="891e82a3-fb99-411e-a23a-94ecb862019d" providerId="ADAL" clId="{49736047-B68A-4837-8F33-99748D7BF74B}" dt="2023-03-16T04:00:04.413" v="2412" actId="20577"/>
          <ac:spMkLst>
            <pc:docMk/>
            <pc:sldMk cId="741033017" sldId="257"/>
            <ac:spMk id="6" creationId="{0F7883D7-6BD2-4FA3-8675-DA1BF43D374F}"/>
          </ac:spMkLst>
        </pc:spChg>
      </pc:sldChg>
      <pc:sldChg chg="addSp mod ord">
        <pc:chgData name="Manas Vaid" userId="891e82a3-fb99-411e-a23a-94ecb862019d" providerId="ADAL" clId="{49736047-B68A-4837-8F33-99748D7BF74B}" dt="2023-03-14T21:49:15.846" v="239"/>
        <pc:sldMkLst>
          <pc:docMk/>
          <pc:sldMk cId="2861150089" sldId="260"/>
        </pc:sldMkLst>
        <pc:picChg chg="add">
          <ac:chgData name="Manas Vaid" userId="891e82a3-fb99-411e-a23a-94ecb862019d" providerId="ADAL" clId="{49736047-B68A-4837-8F33-99748D7BF74B}" dt="2023-03-14T21:49:06.239" v="237" actId="22"/>
          <ac:picMkLst>
            <pc:docMk/>
            <pc:sldMk cId="2861150089" sldId="260"/>
            <ac:picMk id="5" creationId="{3A02118A-E543-4D4E-9983-9229053AB5BC}"/>
          </ac:picMkLst>
        </pc:picChg>
      </pc:sldChg>
      <pc:sldChg chg="modSp mod modNotesTx">
        <pc:chgData name="Manas Vaid" userId="891e82a3-fb99-411e-a23a-94ecb862019d" providerId="ADAL" clId="{49736047-B68A-4837-8F33-99748D7BF74B}" dt="2023-03-14T22:08:03.756" v="1103" actId="20577"/>
        <pc:sldMkLst>
          <pc:docMk/>
          <pc:sldMk cId="1527961776" sldId="261"/>
        </pc:sldMkLst>
        <pc:spChg chg="mod">
          <ac:chgData name="Manas Vaid" userId="891e82a3-fb99-411e-a23a-94ecb862019d" providerId="ADAL" clId="{49736047-B68A-4837-8F33-99748D7BF74B}" dt="2023-03-14T21:42:10.741" v="72" actId="20577"/>
          <ac:spMkLst>
            <pc:docMk/>
            <pc:sldMk cId="1527961776" sldId="261"/>
            <ac:spMk id="2" creationId="{172884A7-3462-4113-8475-9E629098EE94}"/>
          </ac:spMkLst>
        </pc:spChg>
        <pc:spChg chg="mod">
          <ac:chgData name="Manas Vaid" userId="891e82a3-fb99-411e-a23a-94ecb862019d" providerId="ADAL" clId="{49736047-B68A-4837-8F33-99748D7BF74B}" dt="2023-03-14T22:06:22.106" v="974" actId="20577"/>
          <ac:spMkLst>
            <pc:docMk/>
            <pc:sldMk cId="1527961776" sldId="261"/>
            <ac:spMk id="3" creationId="{12030886-D9EA-489E-BCF5-44E1955F966C}"/>
          </ac:spMkLst>
        </pc:spChg>
      </pc:sldChg>
      <pc:sldChg chg="del">
        <pc:chgData name="Manas Vaid" userId="891e82a3-fb99-411e-a23a-94ecb862019d" providerId="ADAL" clId="{49736047-B68A-4837-8F33-99748D7BF74B}" dt="2023-03-14T21:54:36.334" v="487" actId="47"/>
        <pc:sldMkLst>
          <pc:docMk/>
          <pc:sldMk cId="3487941183" sldId="262"/>
        </pc:sldMkLst>
      </pc:sldChg>
      <pc:sldChg chg="del">
        <pc:chgData name="Manas Vaid" userId="891e82a3-fb99-411e-a23a-94ecb862019d" providerId="ADAL" clId="{49736047-B68A-4837-8F33-99748D7BF74B}" dt="2023-03-14T21:55:33.413" v="494" actId="47"/>
        <pc:sldMkLst>
          <pc:docMk/>
          <pc:sldMk cId="502324772" sldId="263"/>
        </pc:sldMkLst>
      </pc:sldChg>
      <pc:sldChg chg="del">
        <pc:chgData name="Manas Vaid" userId="891e82a3-fb99-411e-a23a-94ecb862019d" providerId="ADAL" clId="{49736047-B68A-4837-8F33-99748D7BF74B}" dt="2023-03-14T22:10:05.063" v="1104" actId="47"/>
        <pc:sldMkLst>
          <pc:docMk/>
          <pc:sldMk cId="2122533527" sldId="270"/>
        </pc:sldMkLst>
      </pc:sldChg>
      <pc:sldChg chg="del">
        <pc:chgData name="Manas Vaid" userId="891e82a3-fb99-411e-a23a-94ecb862019d" providerId="ADAL" clId="{49736047-B68A-4837-8F33-99748D7BF74B}" dt="2023-03-14T21:54:58.982" v="491" actId="47"/>
        <pc:sldMkLst>
          <pc:docMk/>
          <pc:sldMk cId="1834160262" sldId="272"/>
        </pc:sldMkLst>
      </pc:sldChg>
      <pc:sldChg chg="addSp modSp mod modNotesTx">
        <pc:chgData name="Manas Vaid" userId="891e82a3-fb99-411e-a23a-94ecb862019d" providerId="ADAL" clId="{49736047-B68A-4837-8F33-99748D7BF74B}" dt="2023-03-16T04:06:07.345" v="2552" actId="20577"/>
        <pc:sldMkLst>
          <pc:docMk/>
          <pc:sldMk cId="3515996137" sldId="276"/>
        </pc:sldMkLst>
        <pc:spChg chg="mod">
          <ac:chgData name="Manas Vaid" userId="891e82a3-fb99-411e-a23a-94ecb862019d" providerId="ADAL" clId="{49736047-B68A-4837-8F33-99748D7BF74B}" dt="2023-03-14T22:37:10.337" v="1346" actId="20577"/>
          <ac:spMkLst>
            <pc:docMk/>
            <pc:sldMk cId="3515996137" sldId="276"/>
            <ac:spMk id="2" creationId="{5C507446-93F1-4663-9199-8EBD51F6715D}"/>
          </ac:spMkLst>
        </pc:spChg>
        <pc:spChg chg="mod">
          <ac:chgData name="Manas Vaid" userId="891e82a3-fb99-411e-a23a-94ecb862019d" providerId="ADAL" clId="{49736047-B68A-4837-8F33-99748D7BF74B}" dt="2023-03-14T22:52:18.453" v="2386" actId="20577"/>
          <ac:spMkLst>
            <pc:docMk/>
            <pc:sldMk cId="3515996137" sldId="276"/>
            <ac:spMk id="3" creationId="{7BB0BD2A-6CCD-43F2-9354-EDADAA3D09F1}"/>
          </ac:spMkLst>
        </pc:spChg>
        <pc:spChg chg="add mod">
          <ac:chgData name="Manas Vaid" userId="891e82a3-fb99-411e-a23a-94ecb862019d" providerId="ADAL" clId="{49736047-B68A-4837-8F33-99748D7BF74B}" dt="2023-03-14T22:48:10.374" v="2122" actId="14100"/>
          <ac:spMkLst>
            <pc:docMk/>
            <pc:sldMk cId="3515996137" sldId="276"/>
            <ac:spMk id="8" creationId="{9C79DCEE-7546-44B9-8B91-17250C515FE8}"/>
          </ac:spMkLst>
        </pc:spChg>
        <pc:spChg chg="mod">
          <ac:chgData name="Manas Vaid" userId="891e82a3-fb99-411e-a23a-94ecb862019d" providerId="ADAL" clId="{49736047-B68A-4837-8F33-99748D7BF74B}" dt="2023-03-14T22:38:39.949" v="1434" actId="20577"/>
          <ac:spMkLst>
            <pc:docMk/>
            <pc:sldMk cId="3515996137" sldId="276"/>
            <ac:spMk id="10" creationId="{FA5FD8D0-6020-4E5E-BCB9-1136FD44E58F}"/>
          </ac:spMkLst>
        </pc:spChg>
      </pc:sldChg>
      <pc:sldChg chg="del">
        <pc:chgData name="Manas Vaid" userId="891e82a3-fb99-411e-a23a-94ecb862019d" providerId="ADAL" clId="{49736047-B68A-4837-8F33-99748D7BF74B}" dt="2023-03-14T21:54:59.758" v="492" actId="47"/>
        <pc:sldMkLst>
          <pc:docMk/>
          <pc:sldMk cId="569741254" sldId="277"/>
        </pc:sldMkLst>
      </pc:sldChg>
      <pc:sldChg chg="del">
        <pc:chgData name="Manas Vaid" userId="891e82a3-fb99-411e-a23a-94ecb862019d" providerId="ADAL" clId="{49736047-B68A-4837-8F33-99748D7BF74B}" dt="2023-03-14T21:55:39.382" v="497" actId="47"/>
        <pc:sldMkLst>
          <pc:docMk/>
          <pc:sldMk cId="2561248997" sldId="278"/>
        </pc:sldMkLst>
      </pc:sldChg>
      <pc:sldChg chg="del">
        <pc:chgData name="Manas Vaid" userId="891e82a3-fb99-411e-a23a-94ecb862019d" providerId="ADAL" clId="{49736047-B68A-4837-8F33-99748D7BF74B}" dt="2023-03-14T21:54:44.972" v="488" actId="47"/>
        <pc:sldMkLst>
          <pc:docMk/>
          <pc:sldMk cId="590143318" sldId="279"/>
        </pc:sldMkLst>
      </pc:sldChg>
      <pc:sldChg chg="del">
        <pc:chgData name="Manas Vaid" userId="891e82a3-fb99-411e-a23a-94ecb862019d" providerId="ADAL" clId="{49736047-B68A-4837-8F33-99748D7BF74B}" dt="2023-03-14T21:55:37.901" v="496" actId="47"/>
        <pc:sldMkLst>
          <pc:docMk/>
          <pc:sldMk cId="1454725363" sldId="280"/>
        </pc:sldMkLst>
      </pc:sldChg>
      <pc:sldChg chg="del">
        <pc:chgData name="Manas Vaid" userId="891e82a3-fb99-411e-a23a-94ecb862019d" providerId="ADAL" clId="{49736047-B68A-4837-8F33-99748D7BF74B}" dt="2023-03-14T21:55:35.333" v="495" actId="47"/>
        <pc:sldMkLst>
          <pc:docMk/>
          <pc:sldMk cId="457992941" sldId="281"/>
        </pc:sldMkLst>
      </pc:sldChg>
      <pc:sldChg chg="del">
        <pc:chgData name="Manas Vaid" userId="891e82a3-fb99-411e-a23a-94ecb862019d" providerId="ADAL" clId="{49736047-B68A-4837-8F33-99748D7BF74B}" dt="2023-03-14T21:55:31.274" v="493" actId="47"/>
        <pc:sldMkLst>
          <pc:docMk/>
          <pc:sldMk cId="1191170734" sldId="283"/>
        </pc:sldMkLst>
      </pc:sldChg>
      <pc:sldChg chg="addSp delSp modSp add mod ord modNotesTx">
        <pc:chgData name="Manas Vaid" userId="891e82a3-fb99-411e-a23a-94ecb862019d" providerId="ADAL" clId="{49736047-B68A-4837-8F33-99748D7BF74B}" dt="2023-03-16T04:07:49.998" v="2563" actId="20577"/>
        <pc:sldMkLst>
          <pc:docMk/>
          <pc:sldMk cId="1320037899" sldId="284"/>
        </pc:sldMkLst>
        <pc:spChg chg="mod">
          <ac:chgData name="Manas Vaid" userId="891e82a3-fb99-411e-a23a-94ecb862019d" providerId="ADAL" clId="{49736047-B68A-4837-8F33-99748D7BF74B}" dt="2023-03-14T22:10:37.749" v="1108" actId="20577"/>
          <ac:spMkLst>
            <pc:docMk/>
            <pc:sldMk cId="1320037899" sldId="284"/>
            <ac:spMk id="2" creationId="{4FBF0EC2-8FA0-45C1-91FB-0DF3F123D605}"/>
          </ac:spMkLst>
        </pc:spChg>
        <pc:spChg chg="add mod">
          <ac:chgData name="Manas Vaid" userId="891e82a3-fb99-411e-a23a-94ecb862019d" providerId="ADAL" clId="{49736047-B68A-4837-8F33-99748D7BF74B}" dt="2023-03-14T22:24:05.734" v="1168" actId="1076"/>
          <ac:spMkLst>
            <pc:docMk/>
            <pc:sldMk cId="1320037899" sldId="284"/>
            <ac:spMk id="3" creationId="{BD137E96-4E8D-4C45-8EEF-56A1261A13DD}"/>
          </ac:spMkLst>
        </pc:spChg>
        <pc:spChg chg="mod">
          <ac:chgData name="Manas Vaid" userId="891e82a3-fb99-411e-a23a-94ecb862019d" providerId="ADAL" clId="{49736047-B68A-4837-8F33-99748D7BF74B}" dt="2023-03-16T04:07:49.998" v="2563" actId="20577"/>
          <ac:spMkLst>
            <pc:docMk/>
            <pc:sldMk cId="1320037899" sldId="284"/>
            <ac:spMk id="8" creationId="{C4EA5B1A-5B31-4ECE-8B25-CEC1E04DB446}"/>
          </ac:spMkLst>
        </pc:spChg>
        <pc:spChg chg="mod">
          <ac:chgData name="Manas Vaid" userId="891e82a3-fb99-411e-a23a-94ecb862019d" providerId="ADAL" clId="{49736047-B68A-4837-8F33-99748D7BF74B}" dt="2023-03-14T22:16:54.984" v="1118" actId="14100"/>
          <ac:spMkLst>
            <pc:docMk/>
            <pc:sldMk cId="1320037899" sldId="284"/>
            <ac:spMk id="101" creationId="{E2066BED-B7FF-4474-AA2F-10A78379A16D}"/>
          </ac:spMkLst>
        </pc:spChg>
        <pc:spChg chg="mod">
          <ac:chgData name="Manas Vaid" userId="891e82a3-fb99-411e-a23a-94ecb862019d" providerId="ADAL" clId="{49736047-B68A-4837-8F33-99748D7BF74B}" dt="2023-03-14T22:21:05.422" v="1162" actId="6549"/>
          <ac:spMkLst>
            <pc:docMk/>
            <pc:sldMk cId="1320037899" sldId="284"/>
            <ac:spMk id="102" creationId="{D9A86F4B-3DE0-46C1-A999-63D6A2487E50}"/>
          </ac:spMkLst>
        </pc:spChg>
        <pc:spChg chg="mod">
          <ac:chgData name="Manas Vaid" userId="891e82a3-fb99-411e-a23a-94ecb862019d" providerId="ADAL" clId="{49736047-B68A-4837-8F33-99748D7BF74B}" dt="2023-03-14T22:16:44.501" v="1116" actId="14100"/>
          <ac:spMkLst>
            <pc:docMk/>
            <pc:sldMk cId="1320037899" sldId="284"/>
            <ac:spMk id="103" creationId="{65BA3F3A-5CF5-4405-A75E-3F79D52A090C}"/>
          </ac:spMkLst>
        </pc:spChg>
        <pc:spChg chg="mod">
          <ac:chgData name="Manas Vaid" userId="891e82a3-fb99-411e-a23a-94ecb862019d" providerId="ADAL" clId="{49736047-B68A-4837-8F33-99748D7BF74B}" dt="2023-03-14T22:28:13.093" v="1280" actId="114"/>
          <ac:spMkLst>
            <pc:docMk/>
            <pc:sldMk cId="1320037899" sldId="284"/>
            <ac:spMk id="108" creationId="{E0F90B65-F25D-4E4E-B869-AE336BF74BBB}"/>
          </ac:spMkLst>
        </pc:spChg>
        <pc:spChg chg="mod">
          <ac:chgData name="Manas Vaid" userId="891e82a3-fb99-411e-a23a-94ecb862019d" providerId="ADAL" clId="{49736047-B68A-4837-8F33-99748D7BF74B}" dt="2023-03-14T22:28:35.079" v="1286" actId="20577"/>
          <ac:spMkLst>
            <pc:docMk/>
            <pc:sldMk cId="1320037899" sldId="284"/>
            <ac:spMk id="109" creationId="{CE7F9CE3-BB32-4570-B4BA-5875B72FF791}"/>
          </ac:spMkLst>
        </pc:spChg>
        <pc:picChg chg="add del mod">
          <ac:chgData name="Manas Vaid" userId="891e82a3-fb99-411e-a23a-94ecb862019d" providerId="ADAL" clId="{49736047-B68A-4837-8F33-99748D7BF74B}" dt="2023-03-14T22:24:16.042" v="1187"/>
          <ac:picMkLst>
            <pc:docMk/>
            <pc:sldMk cId="1320037899" sldId="284"/>
            <ac:picMk id="100" creationId="{B82FB173-FA8F-4ADD-8699-944CEA6A35F8}"/>
          </ac:picMkLst>
        </pc:picChg>
      </pc:sldChg>
      <pc:sldChg chg="addSp modSp new del mod">
        <pc:chgData name="Manas Vaid" userId="891e82a3-fb99-411e-a23a-94ecb862019d" providerId="ADAL" clId="{49736047-B68A-4837-8F33-99748D7BF74B}" dt="2023-03-14T21:49:03.839" v="236" actId="47"/>
        <pc:sldMkLst>
          <pc:docMk/>
          <pc:sldMk cId="919491" sldId="285"/>
        </pc:sldMkLst>
        <pc:picChg chg="add mod modCrop">
          <ac:chgData name="Manas Vaid" userId="891e82a3-fb99-411e-a23a-94ecb862019d" providerId="ADAL" clId="{49736047-B68A-4837-8F33-99748D7BF74B}" dt="2023-03-14T21:47:55.167" v="235" actId="732"/>
          <ac:picMkLst>
            <pc:docMk/>
            <pc:sldMk cId="919491" sldId="285"/>
            <ac:picMk id="7" creationId="{7998B6B4-0A9E-4A16-AA33-B051F48FE487}"/>
          </ac:picMkLst>
        </pc:picChg>
      </pc:sldChg>
      <pc:sldChg chg="add del">
        <pc:chgData name="Manas Vaid" userId="891e82a3-fb99-411e-a23a-94ecb862019d" providerId="ADAL" clId="{49736047-B68A-4837-8F33-99748D7BF74B}" dt="2023-03-14T21:46:20.288" v="230"/>
        <pc:sldMkLst>
          <pc:docMk/>
          <pc:sldMk cId="2013067805" sldId="285"/>
        </pc:sldMkLst>
      </pc:sldChg>
      <pc:sldChg chg="modSp add mod">
        <pc:chgData name="Manas Vaid" userId="891e82a3-fb99-411e-a23a-94ecb862019d" providerId="ADAL" clId="{49736047-B68A-4837-8F33-99748D7BF74B}" dt="2023-03-14T22:56:04.222" v="2410" actId="20577"/>
        <pc:sldMkLst>
          <pc:docMk/>
          <pc:sldMk cId="3923657261" sldId="285"/>
        </pc:sldMkLst>
        <pc:spChg chg="mod">
          <ac:chgData name="Manas Vaid" userId="891e82a3-fb99-411e-a23a-94ecb862019d" providerId="ADAL" clId="{49736047-B68A-4837-8F33-99748D7BF74B}" dt="2023-03-14T22:56:04.222" v="2410" actId="20577"/>
          <ac:spMkLst>
            <pc:docMk/>
            <pc:sldMk cId="3923657261" sldId="285"/>
            <ac:spMk id="8" creationId="{9C79DCEE-7546-44B9-8B91-17250C515FE8}"/>
          </ac:spMkLst>
        </pc:spChg>
      </pc:sldChg>
    </pc:docChg>
  </pc:docChgLst>
  <pc:docChgLst>
    <pc:chgData name="Manas Vaid" userId="891e82a3-fb99-411e-a23a-94ecb862019d" providerId="ADAL" clId="{3BD8E20C-3E90-B04F-A977-0AE8E6910E55}"/>
    <pc:docChg chg="modSld">
      <pc:chgData name="Manas Vaid" userId="891e82a3-fb99-411e-a23a-94ecb862019d" providerId="ADAL" clId="{3BD8E20C-3E90-B04F-A977-0AE8E6910E55}" dt="2023-03-16T01:34:03.228" v="9" actId="20577"/>
      <pc:docMkLst>
        <pc:docMk/>
      </pc:docMkLst>
      <pc:sldChg chg="modNotesTx">
        <pc:chgData name="Manas Vaid" userId="891e82a3-fb99-411e-a23a-94ecb862019d" providerId="ADAL" clId="{3BD8E20C-3E90-B04F-A977-0AE8E6910E55}" dt="2023-03-16T01:34:03.228" v="9" actId="20577"/>
        <pc:sldMkLst>
          <pc:docMk/>
          <pc:sldMk cId="3515996137" sldId="27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16/03/2023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16/03/2023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Thank Tolani – </a:t>
            </a:r>
            <a:r>
              <a:rPr lang="en-IN" dirty="0" err="1"/>
              <a:t>Kanangoo</a:t>
            </a:r>
            <a:r>
              <a:rPr lang="en-IN" dirty="0"/>
              <a:t> Sir for the Opportunity and trust over the years </a:t>
            </a:r>
          </a:p>
          <a:p>
            <a:r>
              <a:rPr lang="en-IN" dirty="0"/>
              <a:t>Purpose is Not to scare – but to highlight risk exists in everything we do.. and therefore we can only be </a:t>
            </a:r>
            <a:r>
              <a:rPr lang="en-IN" b="1" i="1" dirty="0"/>
              <a:t>well prepared </a:t>
            </a:r>
            <a:r>
              <a:rPr lang="en-IN" dirty="0"/>
              <a:t>to mitigate it to the best possible exten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400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Thank Tolani – </a:t>
            </a:r>
            <a:r>
              <a:rPr lang="en-IN" dirty="0" err="1"/>
              <a:t>Kanangoo</a:t>
            </a:r>
            <a:r>
              <a:rPr lang="en-IN" dirty="0"/>
              <a:t> Sir for the Opportunity and trust over the years </a:t>
            </a:r>
          </a:p>
          <a:p>
            <a:r>
              <a:rPr lang="en-IN" dirty="0"/>
              <a:t>Summarise the flow – briefly reflecting on the trade picture, changing risk landscape </a:t>
            </a:r>
          </a:p>
          <a:p>
            <a:r>
              <a:rPr lang="en-IN" dirty="0"/>
              <a:t>Reflect on the a story of learning at the University before diving in the topic </a:t>
            </a: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408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Tra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22718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100" dirty="0"/>
              <a:t>Risk landscape is very dynamic in today’s world and so whilst we like to achieve our primary objectives as liner to remain competitive, reliable and profitable – the need to communicate and manage expectation around handling the uncertain risks/event therefore remains crucial. </a:t>
            </a:r>
          </a:p>
          <a:p>
            <a:r>
              <a:rPr lang="en-IN" sz="1100" dirty="0"/>
              <a:t>Customer and stakeholders prefer to get real time updates,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84969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ypical responsibilities within Risk Management function – transactional, less admin, less error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86134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8348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492375"/>
            <a:ext cx="5595937" cy="181610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9669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1726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Logo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784233" y="6057019"/>
            <a:ext cx="1905001" cy="4263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43100"/>
            <a:ext cx="3578225" cy="36948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14825" y="1943100"/>
            <a:ext cx="7375525" cy="36948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9054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66754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1"/>
            <a:ext cx="6675437" cy="1485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501650"/>
            <a:ext cx="3560763" cy="513556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9E8C0B-1C97-4D16-9DD8-EB4FE101D0F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93714" y="4070350"/>
            <a:ext cx="6675436" cy="15668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07302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3560736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6138" y="1950097"/>
            <a:ext cx="3560736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31175" y="1968500"/>
            <a:ext cx="3559175" cy="36694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685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2620800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738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19989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059DA8A-4391-4F2F-8A22-F32154823E8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069388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3014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ith number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88800" cy="7191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0064" y="1943099"/>
            <a:ext cx="715961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01 -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54148" y="1943099"/>
            <a:ext cx="9302400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5070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ith number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A5975426-E16F-4D12-98B6-8FE2A0F7895B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90286" cy="7191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0064" y="1943099"/>
            <a:ext cx="715961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01 -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54149" y="1943099"/>
            <a:ext cx="9301164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1E4FBBA8-C15E-48AA-A048-FDFD4E9C6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3927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A5975426-E16F-4D12-98B6-8FE2A0F7895B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90286" cy="7191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386" y="1943100"/>
            <a:ext cx="6615577" cy="2711450"/>
          </a:xfrm>
        </p:spPr>
        <p:txBody>
          <a:bodyPr/>
          <a:lstStyle>
            <a:lvl1pPr marL="0" indent="0">
              <a:buNone/>
              <a:defRPr lang="en-US" sz="23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14825" y="5084763"/>
            <a:ext cx="7375525" cy="5476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000" i="0" kern="1200" dirty="0" smtClean="0">
                <a:solidFill>
                  <a:schemeClr val="bg1"/>
                </a:solidFill>
                <a:latin typeface="Maersk Text Office Light" panose="00000400000000000000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</a:t>
            </a:r>
            <a:r>
              <a:rPr lang="en-GB" dirty="0"/>
              <a:t>text</a:t>
            </a: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1E4FBBA8-C15E-48AA-A048-FDFD4E9C6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89072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veral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6536757-24D6-4CE3-BC82-E594F5B33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EEC2DAD-CD0D-4A12-B275-257EC3F16D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1527716"/>
            <a:ext cx="5484812" cy="1753641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2pPr>
            <a:lvl3pPr marL="36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EA61B2-2CC5-4483-A81E-CE7D1E1135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063" y="4070350"/>
            <a:ext cx="5484812" cy="156685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2pPr>
            <a:lvl3pPr marL="36000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  <a:endParaRPr lang="en-GB" dirty="0"/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25700A65-5A8D-4928-8A10-F9DB7E931F9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225806" y="1527717"/>
            <a:ext cx="5467350" cy="2537993"/>
          </a:xfrm>
        </p:spPr>
        <p:txBody>
          <a:bodyPr tIns="7200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A2424BA5-C278-45AB-B9F5-B85D4A3A86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999" y="4654550"/>
            <a:ext cx="4532313" cy="982663"/>
          </a:xfrm>
        </p:spPr>
        <p:txBody>
          <a:bodyPr tIns="0" numCol="2" spcCol="180000"/>
          <a:lstStyle>
            <a:lvl1pPr marL="0" indent="0"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100">
                <a:solidFill>
                  <a:srgbClr val="878787"/>
                </a:solidFill>
              </a:defRPr>
            </a:lvl2pPr>
            <a:lvl3pPr marL="180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rgbClr val="878787"/>
                </a:solidFill>
              </a:defRPr>
            </a:lvl3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1</a:t>
            </a:r>
          </a:p>
          <a:p>
            <a:pPr lvl="2"/>
            <a:r>
              <a:rPr lang="en-GB" noProof="0" dirty="0"/>
              <a:t>2</a:t>
            </a:r>
          </a:p>
          <a:p>
            <a:pPr lvl="3"/>
            <a:r>
              <a:rPr lang="en-GB" noProof="0" dirty="0"/>
              <a:t>3</a:t>
            </a:r>
            <a:endParaRPr lang="en-GB" dirty="0"/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7096DEC8-77C9-4DD3-9025-ECDC80F2146B}"/>
              </a:ext>
            </a:extLst>
          </p:cNvPr>
          <p:cNvCxnSpPr/>
          <p:nvPr userDrawn="1"/>
        </p:nvCxnSpPr>
        <p:spPr>
          <a:xfrm>
            <a:off x="500064" y="3521075"/>
            <a:ext cx="5484811" cy="0"/>
          </a:xfrm>
          <a:prstGeom prst="line">
            <a:avLst/>
          </a:prstGeom>
          <a:ln w="12700">
            <a:solidFill>
              <a:srgbClr val="878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EA90E9CF-510E-4225-A3BB-91F013987BD5}"/>
              </a:ext>
            </a:extLst>
          </p:cNvPr>
          <p:cNvCxnSpPr/>
          <p:nvPr userDrawn="1"/>
        </p:nvCxnSpPr>
        <p:spPr>
          <a:xfrm>
            <a:off x="6225806" y="1527717"/>
            <a:ext cx="54684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">
            <a:extLst>
              <a:ext uri="{FF2B5EF4-FFF2-40B4-BE49-F238E27FC236}">
                <a16:creationId xmlns:a16="http://schemas.microsoft.com/office/drawing/2014/main" id="{CA039D30-14CC-454E-9DA1-C777E3C44776}"/>
              </a:ext>
            </a:extLst>
          </p:cNvPr>
          <p:cNvCxnSpPr/>
          <p:nvPr userDrawn="1"/>
        </p:nvCxnSpPr>
        <p:spPr>
          <a:xfrm>
            <a:off x="6225806" y="4400550"/>
            <a:ext cx="54684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C382236-11EE-4251-B331-C34A1F0BC3C7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62E7F8-5569-4FBF-9D79-FD373EB71C0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D00A7CC-3278-4F1E-AD5C-F27447EEAE9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97902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31175" y="501650"/>
            <a:ext cx="3559176" cy="5135563"/>
          </a:xfrm>
          <a:noFill/>
          <a:ln>
            <a:noFill/>
          </a:ln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E637B88C-6BF1-4846-8D23-5E4678D61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399" y="501649"/>
            <a:ext cx="6676689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EEC2DAD-CD0D-4A12-B275-257EC3F16D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1943100"/>
            <a:ext cx="4530725" cy="157797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2pPr>
            <a:lvl3pPr marL="36000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EA61B2-2CC5-4483-A81E-CE7D1E1135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063" y="4078099"/>
            <a:ext cx="4532400" cy="230376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rgbClr val="687A86"/>
                </a:solidFill>
              </a:defRPr>
            </a:lvl2pPr>
            <a:lvl3pPr marL="360000">
              <a:defRPr>
                <a:solidFill>
                  <a:srgbClr val="687A86"/>
                </a:solidFill>
              </a:defRPr>
            </a:lvl3pPr>
            <a:lvl5pPr>
              <a:defRPr>
                <a:solidFill>
                  <a:srgbClr val="687A86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2424BA5-C278-45AB-B9F5-B85D4A3A86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0063" y="4440055"/>
            <a:ext cx="3578225" cy="876454"/>
          </a:xfrm>
        </p:spPr>
        <p:txBody>
          <a:bodyPr tIns="90000" numCol="2" spcCol="180000"/>
          <a:lstStyle>
            <a:lvl1pPr marL="198000" indent="-198000">
              <a:spcAft>
                <a:spcPts val="300"/>
              </a:spcAft>
              <a:buClrTx/>
              <a:buFont typeface="+mj-lt"/>
              <a:buAutoNum type="arabicPeriod"/>
              <a:defRPr sz="1100">
                <a:solidFill>
                  <a:srgbClr val="878787"/>
                </a:solidFill>
              </a:defRPr>
            </a:lvl1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cxnSp>
        <p:nvCxnSpPr>
          <p:cNvPr id="12" name="Straight Connector 1">
            <a:extLst>
              <a:ext uri="{FF2B5EF4-FFF2-40B4-BE49-F238E27FC236}">
                <a16:creationId xmlns:a16="http://schemas.microsoft.com/office/drawing/2014/main" id="{CA039D30-14CC-454E-9DA1-C777E3C44776}"/>
              </a:ext>
            </a:extLst>
          </p:cNvPr>
          <p:cNvCxnSpPr/>
          <p:nvPr userDrawn="1"/>
        </p:nvCxnSpPr>
        <p:spPr>
          <a:xfrm>
            <a:off x="500064" y="4308475"/>
            <a:ext cx="548481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EA3D1E53-A268-4438-A6D9-6DD6795760C6}"/>
              </a:ext>
            </a:extLst>
          </p:cNvPr>
          <p:cNvCxnSpPr/>
          <p:nvPr userDrawn="1"/>
        </p:nvCxnSpPr>
        <p:spPr>
          <a:xfrm>
            <a:off x="500064" y="5637213"/>
            <a:ext cx="5484811" cy="0"/>
          </a:xfrm>
          <a:prstGeom prst="line">
            <a:avLst/>
          </a:prstGeom>
          <a:ln w="12700">
            <a:solidFill>
              <a:srgbClr val="878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3C375B8-9D52-48FF-B9DE-8BD6EEC3AB3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4DD863-7BBE-4D3F-8B44-500AE483AC8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BACDB-2C17-4569-8330-7E4B0C324AB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242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3521074"/>
            <a:ext cx="10491787" cy="2116137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5D39A8-1DFB-490B-B73E-DECDD50DB2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265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732088"/>
            <a:ext cx="5473700" cy="1816100"/>
          </a:xfrm>
        </p:spPr>
        <p:txBody>
          <a:bodyPr anchor="t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218238" y="492125"/>
            <a:ext cx="5472112" cy="5145088"/>
          </a:xfrm>
          <a:noFill/>
        </p:spPr>
        <p:txBody>
          <a:bodyPr lIns="144000" tIns="108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9669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1726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A7553E4-9495-4C62-83B3-76F11C412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747" y="6057799"/>
            <a:ext cx="1905000" cy="425604"/>
          </a:xfrm>
          <a:prstGeom prst="rect">
            <a:avLst/>
          </a:prstGeom>
        </p:spPr>
      </p:pic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76792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3429000"/>
            <a:ext cx="5484812" cy="2208212"/>
          </a:xfr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96DE752-EA38-4814-AFA5-3A736D036B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B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3429000"/>
            <a:ext cx="5484813" cy="220821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BD99E0C0-56FA-4B2A-BB66-76081F6E2F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17583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23000" y="3429000"/>
            <a:ext cx="5467350" cy="220821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9CFB424-23CA-445E-B56D-C695415294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138594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ory 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2732088"/>
            <a:ext cx="5484812" cy="212566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48F43D1-063F-48C6-A5D5-90EFC34AB13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00062" y="6278400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Insert case story</a:t>
            </a:r>
          </a:p>
        </p:txBody>
      </p:sp>
      <p:sp>
        <p:nvSpPr>
          <p:cNvPr id="12" name="Text Placeholder logo">
            <a:extLst>
              <a:ext uri="{FF2B5EF4-FFF2-40B4-BE49-F238E27FC236}">
                <a16:creationId xmlns:a16="http://schemas.microsoft.com/office/drawing/2014/main" id="{B9A1D87C-1728-4DC9-BEC9-168709C84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  <a:endParaRPr lang="en-GB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  <a:p>
            <a:r>
              <a:rPr lang="en-GB"/>
              <a:t>.</a:t>
            </a:r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14941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6223000" y="500063"/>
            <a:ext cx="5467350" cy="5137151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2735263"/>
            <a:ext cx="5484813" cy="2365375"/>
          </a:xfrm>
        </p:spPr>
        <p:txBody>
          <a:bodyPr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149FF58-D257-4EC7-B21D-296239E0971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6278400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rgbClr val="687A86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Insert case story</a:t>
            </a:r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  <a:endParaRPr lang="en-GB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  <a:p>
            <a:r>
              <a:rPr lang="en-GB"/>
              <a:t>.</a:t>
            </a:r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63345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AF81BF6F-7D05-4852-828C-3879CADCF160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rgbClr val="ACAC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1FB8002-AF3C-460C-BA7E-9F5263B687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2" y="2732088"/>
            <a:ext cx="5484813" cy="2120712"/>
          </a:xfrm>
        </p:spPr>
        <p:txBody>
          <a:bodyPr/>
          <a:lstStyle>
            <a:lvl1pPr>
              <a:tabLst>
                <a:tab pos="936000" algn="l"/>
              </a:tabLst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, tab for first line ind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BC693FA-5D05-4C1F-8558-FBF0F1B4B0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00062" y="6250512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Insert case story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F804FBC7-9C3E-4D1D-B918-9B6E55CB4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5084763"/>
            <a:ext cx="5486400" cy="273600"/>
          </a:xfrm>
        </p:spPr>
        <p:txBody>
          <a:bodyPr anchor="b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Click to add text</a:t>
            </a:r>
            <a:endParaRPr lang="en-US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81AC2EDD-D666-4150-9ABF-DE1FAABE1B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214" y="6137500"/>
            <a:ext cx="1435438" cy="320697"/>
          </a:xfrm>
          <a:prstGeom prst="rect">
            <a:avLst/>
          </a:prstGeom>
        </p:spPr>
      </p:pic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7" name="Footer Placeholder 18" hidden="1">
            <a:extLst>
              <a:ext uri="{FF2B5EF4-FFF2-40B4-BE49-F238E27FC236}">
                <a16:creationId xmlns:a16="http://schemas.microsoft.com/office/drawing/2014/main" id="{7BC00E8E-7767-4CBC-8922-35975B9380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8" name="Slide Number Placeholder 19" hidden="1">
            <a:extLst>
              <a:ext uri="{FF2B5EF4-FFF2-40B4-BE49-F238E27FC236}">
                <a16:creationId xmlns:a16="http://schemas.microsoft.com/office/drawing/2014/main" id="{768E6C0E-9500-4A30-831D-49B7D31ACD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4719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501650"/>
            <a:ext cx="5467350" cy="5135563"/>
          </a:xfrm>
          <a:noFill/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40DA269-FA7A-44B3-BAB8-307D66285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2" y="2732088"/>
            <a:ext cx="5484813" cy="2125662"/>
          </a:xfrm>
        </p:spPr>
        <p:txBody>
          <a:bodyPr/>
          <a:lstStyle>
            <a:lvl1pPr>
              <a:tabLst>
                <a:tab pos="936000" algn="l"/>
              </a:tabLst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, tab for first line inden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60E0E-D53B-47E2-9695-6AA917F7B7A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00062" y="6252276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Insert case story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37DD9DDB-5F46-40A0-A8FA-05AFD85DDCF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5084763"/>
            <a:ext cx="5486400" cy="273600"/>
          </a:xfrm>
        </p:spPr>
        <p:txBody>
          <a:bodyPr anchor="b" anchorCtr="0"/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Click to add text</a:t>
            </a:r>
            <a:endParaRPr lang="en-US" dirty="0"/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7" name="Footer Placeholder 18" hidden="1">
            <a:extLst>
              <a:ext uri="{FF2B5EF4-FFF2-40B4-BE49-F238E27FC236}">
                <a16:creationId xmlns:a16="http://schemas.microsoft.com/office/drawing/2014/main" id="{7BC00E8E-7767-4CBC-8922-35975B9380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8" name="Slide Number Placeholder 19" hidden="1">
            <a:extLst>
              <a:ext uri="{FF2B5EF4-FFF2-40B4-BE49-F238E27FC236}">
                <a16:creationId xmlns:a16="http://schemas.microsoft.com/office/drawing/2014/main" id="{768E6C0E-9500-4A30-831D-49B7D31ACD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42231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399" y="1950097"/>
            <a:ext cx="5484475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4788" y="1950097"/>
            <a:ext cx="5465562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1709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400" y="1950098"/>
            <a:ext cx="3560400" cy="3686400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7201" y="1950097"/>
            <a:ext cx="7363150" cy="3686400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C0AB295-B1DB-4A8F-98EB-8D0294F09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855591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50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3560736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6138" y="1950097"/>
            <a:ext cx="3560736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31175" y="1950097"/>
            <a:ext cx="3559175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9537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732088"/>
            <a:ext cx="5473700" cy="181610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940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0997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048F7A2-A910-4758-AA3D-CD67AF0CDE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747" y="6057799"/>
            <a:ext cx="1904400" cy="42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495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399" y="1501255"/>
            <a:ext cx="5484476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5550" y="1501255"/>
            <a:ext cx="5464800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00399" y="3678175"/>
            <a:ext cx="5484476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F9FA52E-E6B6-497B-8CDF-4291B6C70B9B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25550" y="3678175"/>
            <a:ext cx="5464800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35A655-0007-42B8-9AAE-D572D30C69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74178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399" y="501649"/>
            <a:ext cx="11189951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0399" y="1943100"/>
            <a:ext cx="11189951" cy="36902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436AB1-5F87-45A0-A4D3-ACB62D87C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EC2C57-2A89-4D06-932E-353E043E7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C0878BA1-CFB4-4349-B120-1867D280A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6D4F2E-FFF6-4D94-A0A4-43A43FCDE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10EAA6D-6226-4D0B-A23A-3D2469B69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C3750702-865E-424E-BDAE-F6B87694C5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017D30-3C3B-4E02-956C-526F80577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2CD91E-E870-45AB-B6B3-21B3C5472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CF0E3E31-9EAD-4ECD-A589-4F158B739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4308475"/>
            <a:ext cx="10491788" cy="1318735"/>
          </a:xfrm>
        </p:spPr>
        <p:txBody>
          <a:bodyPr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0C7CED-62BB-4D41-91E8-AED15ACB42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9643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w.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4308474"/>
            <a:ext cx="10491788" cy="1323975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6CDA879-E7F2-4945-8A09-C6477E28A6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70563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25290" y="1439372"/>
            <a:ext cx="2917403" cy="472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. Insert corporate picture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right Templafy pane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. Browse for other pictur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 picture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. </a:t>
            </a: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copied picture</a:t>
            </a:r>
            <a:endParaRPr lang="en-GB" altLang="da-DK" sz="900" noProof="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aste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browse for a picture</a:t>
            </a: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ing of guides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their default settings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9" name="Header"/>
          <p:cNvSpPr txBox="1"/>
          <p:nvPr userDrawn="1"/>
        </p:nvSpPr>
        <p:spPr>
          <a:xfrm>
            <a:off x="481014" y="464888"/>
            <a:ext cx="11072810" cy="62914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noProof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07139" y="1439372"/>
            <a:ext cx="2412000" cy="42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 a New Slide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</a:t>
            </a: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. </a:t>
            </a:r>
            <a: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 layouts</a:t>
            </a:r>
            <a:endParaRPr lang="en-GB" sz="900" noProof="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</a:t>
            </a:r>
            <a:b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will be applied to the new slide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849935" y="1439372"/>
            <a:ext cx="2412000" cy="437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 or any other placeholder, click on the placeholder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hold down the Shift button and click on the placeholder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57291" y="2308484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7291" y="4038223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757291" y="4861989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16372" y="5282559"/>
            <a:ext cx="492452" cy="200416"/>
          </a:xfrm>
          <a:prstGeom prst="rect">
            <a:avLst/>
          </a:prstGeom>
        </p:spPr>
      </p:pic>
      <p:grpSp>
        <p:nvGrpSpPr>
          <p:cNvPr id="24" name="Gruppe 23">
            <a:extLst>
              <a:ext uri="{FF2B5EF4-FFF2-40B4-BE49-F238E27FC236}">
                <a16:creationId xmlns:a16="http://schemas.microsoft.com/office/drawing/2014/main" id="{48EAA219-FFE7-4387-A385-4D3D0AF728CE}"/>
              </a:ext>
            </a:extLst>
          </p:cNvPr>
          <p:cNvGrpSpPr/>
          <p:nvPr userDrawn="1"/>
        </p:nvGrpSpPr>
        <p:grpSpPr>
          <a:xfrm>
            <a:off x="7028244" y="2583743"/>
            <a:ext cx="740398" cy="734626"/>
            <a:chOff x="6398620" y="3815586"/>
            <a:chExt cx="740398" cy="734626"/>
          </a:xfrm>
        </p:grpSpPr>
        <p:pic>
          <p:nvPicPr>
            <p:cNvPr id="30" name="6 Crop">
              <a:extLst>
                <a:ext uri="{FF2B5EF4-FFF2-40B4-BE49-F238E27FC236}">
                  <a16:creationId xmlns:a16="http://schemas.microsoft.com/office/drawing/2014/main" id="{EC854AD3-9DFC-4A83-BDF0-A7E2B01F9B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31" name="Billede 30">
              <a:extLst>
                <a:ext uri="{FF2B5EF4-FFF2-40B4-BE49-F238E27FC236}">
                  <a16:creationId xmlns:a16="http://schemas.microsoft.com/office/drawing/2014/main" id="{E2414F06-53F0-4323-A4A9-91728B89EE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304" t="11451" r="30180" b="46035"/>
            <a:stretch/>
          </p:blipFill>
          <p:spPr>
            <a:xfrm>
              <a:off x="6442770" y="4118189"/>
              <a:ext cx="696248" cy="432023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78224CA6-7D55-40AF-AF08-7CC6E7C4B3C8}"/>
              </a:ext>
            </a:extLst>
          </p:cNvPr>
          <p:cNvGrpSpPr/>
          <p:nvPr userDrawn="1"/>
        </p:nvGrpSpPr>
        <p:grpSpPr>
          <a:xfrm>
            <a:off x="7072982" y="3558164"/>
            <a:ext cx="740397" cy="929593"/>
            <a:chOff x="6391652" y="4854581"/>
            <a:chExt cx="740397" cy="929593"/>
          </a:xfrm>
        </p:grpSpPr>
        <p:pic>
          <p:nvPicPr>
            <p:cNvPr id="33" name="6 Crop">
              <a:extLst>
                <a:ext uri="{FF2B5EF4-FFF2-40B4-BE49-F238E27FC236}">
                  <a16:creationId xmlns:a16="http://schemas.microsoft.com/office/drawing/2014/main" id="{B89DF8E6-B7F7-4857-A1D8-15B39D7AF8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4" name="Billede 33">
              <a:extLst>
                <a:ext uri="{FF2B5EF4-FFF2-40B4-BE49-F238E27FC236}">
                  <a16:creationId xmlns:a16="http://schemas.microsoft.com/office/drawing/2014/main" id="{39AFA131-B5A7-4AB6-889F-69CF39F4C8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126BB6BB-8852-44D9-A0EB-7B0A29B5CAFC}"/>
              </a:ext>
            </a:extLst>
          </p:cNvPr>
          <p:cNvGrpSpPr/>
          <p:nvPr userDrawn="1"/>
        </p:nvGrpSpPr>
        <p:grpSpPr>
          <a:xfrm>
            <a:off x="7072394" y="1479976"/>
            <a:ext cx="676669" cy="997704"/>
            <a:chOff x="6442771" y="2574072"/>
            <a:chExt cx="676669" cy="997704"/>
          </a:xfrm>
        </p:grpSpPr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2EC1AD58-F087-456F-B1CF-97A8AD608A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7" name="Billede 36">
              <a:extLst>
                <a:ext uri="{FF2B5EF4-FFF2-40B4-BE49-F238E27FC236}">
                  <a16:creationId xmlns:a16="http://schemas.microsoft.com/office/drawing/2014/main" id="{A1105FA6-DF1D-44A9-BD39-B99136D7B2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39" name="6 Beskær">
            <a:extLst>
              <a:ext uri="{FF2B5EF4-FFF2-40B4-BE49-F238E27FC236}">
                <a16:creationId xmlns:a16="http://schemas.microsoft.com/office/drawing/2014/main" id="{F1E5DB47-CE9C-4A68-BA80-97FFD80C5C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86326" y="2593712"/>
            <a:ext cx="337400" cy="321707"/>
          </a:xfrm>
          <a:prstGeom prst="rect">
            <a:avLst/>
          </a:prstGeom>
        </p:spPr>
      </p:pic>
      <p:pic>
        <p:nvPicPr>
          <p:cNvPr id="40" name="7 Skalér billede">
            <a:extLst>
              <a:ext uri="{FF2B5EF4-FFF2-40B4-BE49-F238E27FC236}">
                <a16:creationId xmlns:a16="http://schemas.microsoft.com/office/drawing/2014/main" id="{472C50C0-81D4-4FF8-9774-95FB88A3DB5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186326" y="3510628"/>
            <a:ext cx="359695" cy="33530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C4EB944-268B-4588-9575-20967FF1FDE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757291" y="3179601"/>
            <a:ext cx="257143" cy="285714"/>
          </a:xfrm>
          <a:prstGeom prst="rect">
            <a:avLst/>
          </a:prstGeom>
        </p:spPr>
      </p:pic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C47240A8-F4C6-438F-B627-9F10AF7702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CE7E8215-C535-47A6-A19E-191CCD622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B1580671-F9A8-48F5-99CE-4A5C15752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94737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agenda/content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00062" y="1943100"/>
            <a:ext cx="954087" cy="370102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.00</a:t>
            </a:r>
          </a:p>
          <a:p>
            <a:pPr lvl="1"/>
            <a:r>
              <a:rPr lang="en-GB" noProof="0" dirty="0"/>
              <a:t>2.00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C354DE8-B49E-4B51-91DD-A34B6B5B17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71637" y="1943100"/>
            <a:ext cx="4546601" cy="370102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622D19-DC71-4F90-AA62-D86E2AFEAD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AFC17B-5A74-4635-AFC9-1AEF46863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D98D28-9108-4EC2-92D0-619C856BF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0320B85-9075-4BE3-80FE-A4FBA5B894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/content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00062" y="1943101"/>
            <a:ext cx="954087" cy="3696826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.00</a:t>
            </a:r>
          </a:p>
          <a:p>
            <a:pPr lvl="1"/>
            <a:r>
              <a:rPr lang="en-GB" noProof="0" dirty="0"/>
              <a:t>2.00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C354DE8-B49E-4B51-91DD-A34B6B5B17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71637" y="1943101"/>
            <a:ext cx="4546601" cy="3696826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622D19-DC71-4F90-AA62-D86E2AFEAD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AFC17B-5A74-4635-AFC9-1AEF46863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0320B85-9075-4BE3-80FE-A4FBA5B894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1642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76334-9261-4B58-9174-1059920D6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400" y="501649"/>
            <a:ext cx="5484476" cy="1990726"/>
          </a:xfrm>
        </p:spPr>
        <p:txBody>
          <a:bodyPr/>
          <a:lstStyle>
            <a:lvl1pPr marL="0" indent="0">
              <a:buFontTx/>
              <a:buNone/>
              <a:tabLst>
                <a:tab pos="936000" algn="l"/>
              </a:tabLst>
              <a:defRPr sz="4000"/>
            </a:lvl1pPr>
          </a:lstStyle>
          <a:p>
            <a:r>
              <a:rPr lang="en-GB" noProof="0" dirty="0"/>
              <a:t>Click to add title, tab for first line inden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97E6BB-0526-4ECF-A7B6-F012FA93D0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E9849-36F9-4EC3-BE81-D2FC41D399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CB67E9-4625-4D5C-A0BB-D895986FA29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CBAD38D-0859-4790-A878-F926B90F35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4825" y="3521075"/>
            <a:ext cx="7375525" cy="211613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accent1"/>
                </a:solidFill>
                <a:latin typeface="+mj-lt"/>
              </a:defRPr>
            </a:lvl2pPr>
            <a:lvl3pPr marL="180000" indent="-1800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1172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66754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0"/>
            <a:ext cx="6675437" cy="3694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501650"/>
            <a:ext cx="3560763" cy="513556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998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88700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0"/>
            <a:ext cx="6675437" cy="3694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1943100"/>
            <a:ext cx="3560763" cy="369411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329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43099"/>
            <a:ext cx="5464800" cy="3694879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5550" y="1943099"/>
            <a:ext cx="5464800" cy="3694879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8275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399" y="1943739"/>
            <a:ext cx="11189951" cy="36896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Subhead</a:t>
            </a:r>
          </a:p>
          <a:p>
            <a:pPr lvl="4"/>
            <a:r>
              <a:rPr lang="en-GB" noProof="0" dirty="0"/>
              <a:t>Level 5, headline</a:t>
            </a:r>
          </a:p>
          <a:p>
            <a:pPr lvl="5"/>
            <a:r>
              <a:rPr lang="en-GB" noProof="0" dirty="0"/>
              <a:t>Level 6, headline</a:t>
            </a:r>
          </a:p>
          <a:p>
            <a:pPr lvl="6"/>
            <a:r>
              <a:rPr lang="en-GB" noProof="0" dirty="0"/>
              <a:t>Level 7, note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399" y="501649"/>
            <a:ext cx="11189951" cy="930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88" name="Footer Placeholder 87">
            <a:extLst>
              <a:ext uri="{FF2B5EF4-FFF2-40B4-BE49-F238E27FC236}">
                <a16:creationId xmlns:a16="http://schemas.microsoft.com/office/drawing/2014/main" id="{E21F396F-4C1D-4B71-97C4-1BDE0CB2C01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219200" y="6278621"/>
            <a:ext cx="3285369" cy="185427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89" name="Slide Number Placeholder 88">
            <a:extLst>
              <a:ext uri="{FF2B5EF4-FFF2-40B4-BE49-F238E27FC236}">
                <a16:creationId xmlns:a16="http://schemas.microsoft.com/office/drawing/2014/main" id="{A67AAF6D-173F-4FC5-B3DD-15256B6A2F3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502197" y="6278622"/>
            <a:ext cx="412039" cy="185426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5" name="Group 4">
            <a:extLst>
              <a:ext uri="{FF2B5EF4-FFF2-40B4-BE49-F238E27FC236}">
                <a16:creationId xmlns:a16="http://schemas.microsoft.com/office/drawing/2014/main" id="{255E078E-B243-42A1-B589-8CC503A66B4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97" name="Freeform 5">
              <a:extLst>
                <a:ext uri="{FF2B5EF4-FFF2-40B4-BE49-F238E27FC236}">
                  <a16:creationId xmlns:a16="http://schemas.microsoft.com/office/drawing/2014/main" id="{28F624D4-6986-4E93-887C-A0690C5C4A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id="{78D85899-D3DF-418A-8091-4FB0F6F8A2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49738F52-8D2A-4C28-8FB7-92D64EFA84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645BA9F4-DF1F-44D7-A473-6FAC6F2843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EC290DBF-B2E4-4B81-BFB4-65201D8017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8B539F7E-96A0-4BA9-9D11-BACEE5DEB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111170EC-B87D-481F-8FDC-276480533F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06361CD5-F024-4F59-A5DB-73C2182D5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1512BDD-E313-4203-808B-6ECBEE0B5BB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grpSp>
        <p:nvGrpSpPr>
          <p:cNvPr id="114" name="Group 113" hidden="1">
            <a:extLst>
              <a:ext uri="{FF2B5EF4-FFF2-40B4-BE49-F238E27FC236}">
                <a16:creationId xmlns:a16="http://schemas.microsoft.com/office/drawing/2014/main" id="{A709D695-914B-4705-8AC6-A94C2721C5E6}"/>
              </a:ext>
            </a:extLst>
          </p:cNvPr>
          <p:cNvGrpSpPr/>
          <p:nvPr userDrawn="1"/>
        </p:nvGrpSpPr>
        <p:grpSpPr>
          <a:xfrm>
            <a:off x="500062" y="501647"/>
            <a:ext cx="11194852" cy="5862641"/>
            <a:chOff x="500062" y="501647"/>
            <a:chExt cx="11194852" cy="5862641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94117C3-ACEB-4551-92D6-E8776CE33870}"/>
                </a:ext>
              </a:extLst>
            </p:cNvPr>
            <p:cNvSpPr/>
            <p:nvPr/>
          </p:nvSpPr>
          <p:spPr>
            <a:xfrm>
              <a:off x="504628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DB4EA52B-9F03-4154-94D6-DCF629E0A517}"/>
                </a:ext>
              </a:extLst>
            </p:cNvPr>
            <p:cNvSpPr/>
            <p:nvPr/>
          </p:nvSpPr>
          <p:spPr>
            <a:xfrm>
              <a:off x="1456839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ADABCB14-BA75-4B31-8404-F842D634C5FA}"/>
                </a:ext>
              </a:extLst>
            </p:cNvPr>
            <p:cNvSpPr/>
            <p:nvPr/>
          </p:nvSpPr>
          <p:spPr>
            <a:xfrm>
              <a:off x="8122316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222E1F28-617C-42B1-A6FF-BB511F216035}"/>
                </a:ext>
              </a:extLst>
            </p:cNvPr>
            <p:cNvSpPr/>
            <p:nvPr/>
          </p:nvSpPr>
          <p:spPr>
            <a:xfrm>
              <a:off x="9074527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E69EDA3C-B72E-4595-A9E9-C52463512844}"/>
                </a:ext>
              </a:extLst>
            </p:cNvPr>
            <p:cNvSpPr/>
            <p:nvPr/>
          </p:nvSpPr>
          <p:spPr>
            <a:xfrm>
              <a:off x="10026738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289C1C4C-D89D-4FF0-935C-26D17097F22D}"/>
                </a:ext>
              </a:extLst>
            </p:cNvPr>
            <p:cNvSpPr/>
            <p:nvPr/>
          </p:nvSpPr>
          <p:spPr>
            <a:xfrm>
              <a:off x="10978950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A520FBBD-719C-461F-A18E-15DEEF9344D5}"/>
                </a:ext>
              </a:extLst>
            </p:cNvPr>
            <p:cNvSpPr/>
            <p:nvPr/>
          </p:nvSpPr>
          <p:spPr>
            <a:xfrm>
              <a:off x="7170105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B8152350-997B-4F9F-AF5B-0640D5A22D60}"/>
                </a:ext>
              </a:extLst>
            </p:cNvPr>
            <p:cNvSpPr/>
            <p:nvPr/>
          </p:nvSpPr>
          <p:spPr>
            <a:xfrm>
              <a:off x="6217894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CE7E2C06-3591-4F16-A6C9-26D03AFE7A9F}"/>
                </a:ext>
              </a:extLst>
            </p:cNvPr>
            <p:cNvSpPr/>
            <p:nvPr/>
          </p:nvSpPr>
          <p:spPr>
            <a:xfrm>
              <a:off x="5265683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4D92D19D-15E4-4E02-9555-F731FC602CCC}"/>
                </a:ext>
              </a:extLst>
            </p:cNvPr>
            <p:cNvSpPr/>
            <p:nvPr/>
          </p:nvSpPr>
          <p:spPr>
            <a:xfrm>
              <a:off x="4313472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8A5793D9-80BF-4104-A4AB-DD353A2513BA}"/>
                </a:ext>
              </a:extLst>
            </p:cNvPr>
            <p:cNvSpPr/>
            <p:nvPr/>
          </p:nvSpPr>
          <p:spPr>
            <a:xfrm>
              <a:off x="3361261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9298F0B0-8A2D-4275-9CBC-81577EF8011C}"/>
                </a:ext>
              </a:extLst>
            </p:cNvPr>
            <p:cNvSpPr/>
            <p:nvPr/>
          </p:nvSpPr>
          <p:spPr>
            <a:xfrm>
              <a:off x="2409050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C6FF5141-D9A4-40D9-AE0A-9FAA2ECE1656}"/>
                </a:ext>
              </a:extLst>
            </p:cNvPr>
            <p:cNvSpPr/>
            <p:nvPr/>
          </p:nvSpPr>
          <p:spPr>
            <a:xfrm>
              <a:off x="500062" y="194373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F254B338-3EBA-4D36-86E8-9C09EF7C02B8}"/>
                </a:ext>
              </a:extLst>
            </p:cNvPr>
            <p:cNvSpPr/>
            <p:nvPr/>
          </p:nvSpPr>
          <p:spPr>
            <a:xfrm>
              <a:off x="500062" y="273316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FE8AE6C3-0AFF-40F6-88C7-3A7C8A014488}"/>
                </a:ext>
              </a:extLst>
            </p:cNvPr>
            <p:cNvSpPr/>
            <p:nvPr/>
          </p:nvSpPr>
          <p:spPr>
            <a:xfrm>
              <a:off x="500062" y="352259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53E9EF65-B326-497A-9EE0-EFC57318F203}"/>
                </a:ext>
              </a:extLst>
            </p:cNvPr>
            <p:cNvSpPr/>
            <p:nvPr/>
          </p:nvSpPr>
          <p:spPr>
            <a:xfrm>
              <a:off x="500062" y="4309364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BA518688-2A30-4B00-97FA-A9EA1D196D35}"/>
                </a:ext>
              </a:extLst>
            </p:cNvPr>
            <p:cNvSpPr/>
            <p:nvPr/>
          </p:nvSpPr>
          <p:spPr>
            <a:xfrm>
              <a:off x="500062" y="5084795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1F693842-B64A-4087-9E5F-5199914B2E05}"/>
                </a:ext>
              </a:extLst>
            </p:cNvPr>
            <p:cNvSpPr/>
            <p:nvPr/>
          </p:nvSpPr>
          <p:spPr>
            <a:xfrm>
              <a:off x="500063" y="501647"/>
              <a:ext cx="11190287" cy="930975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4" name="MSIPCMContentMarking" descr="{&quot;HashCode&quot;:2482325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83A05EB-FC73-4F8F-AD33-DD1F1F38F6D3}"/>
              </a:ext>
            </a:extLst>
          </p:cNvPr>
          <p:cNvSpPr txBox="1"/>
          <p:nvPr userDrawn="1"/>
        </p:nvSpPr>
        <p:spPr>
          <a:xfrm>
            <a:off x="0" y="6595656"/>
            <a:ext cx="133983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IN" sz="1000">
                <a:solidFill>
                  <a:srgbClr val="000000"/>
                </a:solidFill>
                <a:latin typeface="Calibri" panose="020F0502020204030204" pitchFamily="34" charset="0"/>
              </a:rPr>
              <a:t>Classification: Public</a:t>
            </a:r>
            <a:endParaRPr lang="en-IN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54" r:id="rId2"/>
    <p:sldLayoutId id="2147483780" r:id="rId3"/>
    <p:sldLayoutId id="2147483737" r:id="rId4"/>
    <p:sldLayoutId id="2147483757" r:id="rId5"/>
    <p:sldLayoutId id="2147483770" r:id="rId6"/>
    <p:sldLayoutId id="2147483741" r:id="rId7"/>
    <p:sldLayoutId id="2147483778" r:id="rId8"/>
    <p:sldLayoutId id="2147483759" r:id="rId9"/>
    <p:sldLayoutId id="2147483761" r:id="rId10"/>
    <p:sldLayoutId id="2147483760" r:id="rId11"/>
    <p:sldLayoutId id="2147483758" r:id="rId12"/>
    <p:sldLayoutId id="2147483779" r:id="rId13"/>
    <p:sldLayoutId id="2147483771" r:id="rId14"/>
    <p:sldLayoutId id="2147483772" r:id="rId15"/>
    <p:sldLayoutId id="2147483773" r:id="rId16"/>
    <p:sldLayoutId id="2147483777" r:id="rId17"/>
    <p:sldLayoutId id="2147483776" r:id="rId18"/>
    <p:sldLayoutId id="2147483765" r:id="rId19"/>
    <p:sldLayoutId id="2147483739" r:id="rId20"/>
    <p:sldLayoutId id="2147483755" r:id="rId21"/>
    <p:sldLayoutId id="2147483766" r:id="rId22"/>
    <p:sldLayoutId id="2147483762" r:id="rId23"/>
    <p:sldLayoutId id="2147483763" r:id="rId24"/>
    <p:sldLayoutId id="2147483775" r:id="rId25"/>
    <p:sldLayoutId id="2147483774" r:id="rId26"/>
    <p:sldLayoutId id="2147483768" r:id="rId27"/>
    <p:sldLayoutId id="2147483767" r:id="rId28"/>
    <p:sldLayoutId id="2147483734" r:id="rId29"/>
    <p:sldLayoutId id="2147483764" r:id="rId30"/>
    <p:sldLayoutId id="2147483732" r:id="rId31"/>
    <p:sldLayoutId id="2147483743" r:id="rId32"/>
    <p:sldLayoutId id="2147483744" r:id="rId33"/>
    <p:sldLayoutId id="2147483769" r:id="rId34"/>
    <p:sldLayoutId id="2147483756" r:id="rId35"/>
    <p:sldLayoutId id="2147483750" r:id="rId36"/>
    <p:sldLayoutId id="2147483751" r:id="rId3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350" i="1" kern="1200">
          <a:solidFill>
            <a:schemeClr val="tx1"/>
          </a:solidFill>
          <a:latin typeface="Maersk Headline Office" panose="00000500000000000000" pitchFamily="2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6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500" b="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accent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68" userDrawn="1">
          <p15:clr>
            <a:srgbClr val="F26B43"/>
          </p15:clr>
        </p15:guide>
        <p15:guide id="3" orient="horz" pos="315" userDrawn="1">
          <p15:clr>
            <a:srgbClr val="F26B43"/>
          </p15:clr>
        </p15:guide>
        <p15:guide id="4" orient="horz" pos="4009" userDrawn="1">
          <p15:clr>
            <a:srgbClr val="F26B43"/>
          </p15:clr>
        </p15:guide>
        <p15:guide id="5" pos="917" userDrawn="1">
          <p15:clr>
            <a:srgbClr val="F26B43"/>
          </p15:clr>
        </p15:guide>
        <p15:guide id="6" pos="1368" userDrawn="1">
          <p15:clr>
            <a:srgbClr val="F26B43"/>
          </p15:clr>
        </p15:guide>
        <p15:guide id="7" pos="5116" userDrawn="1">
          <p15:clr>
            <a:srgbClr val="F26B43"/>
          </p15:clr>
        </p15:guide>
        <p15:guide id="8" pos="5567" userDrawn="1">
          <p15:clr>
            <a:srgbClr val="F26B43"/>
          </p15:clr>
        </p15:guide>
        <p15:guide id="9" pos="5716" userDrawn="1">
          <p15:clr>
            <a:srgbClr val="F26B43"/>
          </p15:clr>
        </p15:guide>
        <p15:guide id="10" pos="6167" userDrawn="1">
          <p15:clr>
            <a:srgbClr val="F26B43"/>
          </p15:clr>
        </p15:guide>
        <p15:guide id="11" pos="6316" userDrawn="1">
          <p15:clr>
            <a:srgbClr val="F26B43"/>
          </p15:clr>
        </p15:guide>
        <p15:guide id="12" pos="6767" userDrawn="1">
          <p15:clr>
            <a:srgbClr val="F26B43"/>
          </p15:clr>
        </p15:guide>
        <p15:guide id="13" pos="6915" userDrawn="1">
          <p15:clr>
            <a:srgbClr val="F26B43"/>
          </p15:clr>
        </p15:guide>
        <p15:guide id="15" pos="4516" userDrawn="1">
          <p15:clr>
            <a:srgbClr val="F26B43"/>
          </p15:clr>
        </p15:guide>
        <p15:guide id="16" pos="4967" userDrawn="1">
          <p15:clr>
            <a:srgbClr val="F26B43"/>
          </p15:clr>
        </p15:guide>
        <p15:guide id="17" pos="3916" userDrawn="1">
          <p15:clr>
            <a:srgbClr val="F26B43"/>
          </p15:clr>
        </p15:guide>
        <p15:guide id="18" pos="4367" userDrawn="1">
          <p15:clr>
            <a:srgbClr val="F26B43"/>
          </p15:clr>
        </p15:guide>
        <p15:guide id="19" pos="3316" userDrawn="1">
          <p15:clr>
            <a:srgbClr val="F26B43"/>
          </p15:clr>
        </p15:guide>
        <p15:guide id="20" pos="3767" userDrawn="1">
          <p15:clr>
            <a:srgbClr val="F26B43"/>
          </p15:clr>
        </p15:guide>
        <p15:guide id="21" pos="2717" userDrawn="1">
          <p15:clr>
            <a:srgbClr val="F26B43"/>
          </p15:clr>
        </p15:guide>
        <p15:guide id="22" pos="3168" userDrawn="1">
          <p15:clr>
            <a:srgbClr val="F26B43"/>
          </p15:clr>
        </p15:guide>
        <p15:guide id="23" pos="2117" userDrawn="1">
          <p15:clr>
            <a:srgbClr val="F26B43"/>
          </p15:clr>
        </p15:guide>
        <p15:guide id="24" pos="2568" userDrawn="1">
          <p15:clr>
            <a:srgbClr val="F26B43"/>
          </p15:clr>
        </p15:guide>
        <p15:guide id="25" pos="1517" userDrawn="1">
          <p15:clr>
            <a:srgbClr val="F26B43"/>
          </p15:clr>
        </p15:guide>
        <p15:guide id="26" pos="1968" userDrawn="1">
          <p15:clr>
            <a:srgbClr val="F26B43"/>
          </p15:clr>
        </p15:guide>
        <p15:guide id="28" pos="7363" userDrawn="1">
          <p15:clr>
            <a:srgbClr val="F26B43"/>
          </p15:clr>
        </p15:guide>
        <p15:guide id="29" orient="horz" pos="1224" userDrawn="1">
          <p15:clr>
            <a:srgbClr val="F26B43"/>
          </p15:clr>
        </p15:guide>
        <p15:guide id="30" orient="horz" pos="1570" userDrawn="1">
          <p15:clr>
            <a:srgbClr val="F26B43"/>
          </p15:clr>
        </p15:guide>
        <p15:guide id="31" orient="horz" pos="1721" userDrawn="1">
          <p15:clr>
            <a:srgbClr val="F26B43"/>
          </p15:clr>
        </p15:guide>
        <p15:guide id="32" orient="horz" pos="2067" userDrawn="1">
          <p15:clr>
            <a:srgbClr val="F26B43"/>
          </p15:clr>
        </p15:guide>
        <p15:guide id="33" orient="horz" pos="2218" userDrawn="1">
          <p15:clr>
            <a:srgbClr val="F26B43"/>
          </p15:clr>
        </p15:guide>
        <p15:guide id="34" orient="horz" pos="2564" userDrawn="1">
          <p15:clr>
            <a:srgbClr val="F26B43"/>
          </p15:clr>
        </p15:guide>
        <p15:guide id="35" orient="horz" pos="2714" userDrawn="1">
          <p15:clr>
            <a:srgbClr val="F26B43"/>
          </p15:clr>
        </p15:guide>
        <p15:guide id="36" orient="horz" pos="3060" userDrawn="1">
          <p15:clr>
            <a:srgbClr val="F26B43"/>
          </p15:clr>
        </p15:guide>
        <p15:guide id="37" orient="horz" pos="3203" userDrawn="1">
          <p15:clr>
            <a:srgbClr val="F26B43"/>
          </p15:clr>
        </p15:guide>
        <p15:guide id="38" orient="horz" pos="3548" userDrawn="1">
          <p15:clr>
            <a:srgbClr val="F26B43"/>
          </p15:clr>
        </p15:guide>
        <p15:guide id="39" pos="315" userDrawn="1">
          <p15:clr>
            <a:srgbClr val="F26B43"/>
          </p15:clr>
        </p15:guide>
        <p15:guide id="40" pos="7364" userDrawn="1">
          <p15:clr>
            <a:srgbClr val="F26B43"/>
          </p15:clr>
        </p15:guide>
        <p15:guide id="41" orient="horz" pos="902" userDrawn="1">
          <p15:clr>
            <a:srgbClr val="F26B43"/>
          </p15:clr>
        </p15:guide>
        <p15:guide id="42" orient="horz" pos="2160" userDrawn="1">
          <p15:clr>
            <a:srgbClr val="000000"/>
          </p15:clr>
        </p15:guide>
        <p15:guide id="43" pos="3840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notesSlide" Target="../notesSlides/notesSlide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9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8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sENBQSB1ka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youtu.be/fw1SWgs1SS0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AE244413-7546-4A3F-A943-28A517EC76C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12488" b="12488"/>
          <a:stretch/>
        </p:blipFill>
        <p:spPr>
          <a:xfrm>
            <a:off x="0" y="26126"/>
            <a:ext cx="12193200" cy="6860871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6C0CB2-BA1C-4DB5-9241-4C5AA4D8E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2" y="4910643"/>
            <a:ext cx="3779837" cy="1103312"/>
          </a:xfrm>
        </p:spPr>
        <p:txBody>
          <a:bodyPr anchor="t">
            <a:normAutofit/>
          </a:bodyPr>
          <a:lstStyle/>
          <a:p>
            <a:r>
              <a:rPr lang="en-GB" sz="2800" b="1" dirty="0"/>
              <a:t>Manas Vaid</a:t>
            </a:r>
            <a:br>
              <a:rPr lang="en-GB" sz="2800" b="1" dirty="0"/>
            </a:br>
            <a:r>
              <a:rPr lang="en-GB" sz="2800" b="1" dirty="0"/>
              <a:t>Maersk 	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41EE45D6-ADC1-3DB2-AED5-464CDFFC63C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502197" y="6278622"/>
            <a:ext cx="412039" cy="185426"/>
          </a:xfrm>
        </p:spPr>
        <p:txBody>
          <a:bodyPr/>
          <a:lstStyle/>
          <a:p>
            <a:pPr>
              <a:spcAft>
                <a:spcPts val="600"/>
              </a:spcAft>
            </a:pPr>
            <a:fld id="{43A204BC-C5BA-4EF4-ABC8-D45123A0C528}" type="slidenum">
              <a:rPr lang="en-GB" smtClean="0"/>
              <a:pPr>
                <a:spcAft>
                  <a:spcPts val="600"/>
                </a:spcAft>
              </a:pPr>
              <a:t>1</a:t>
            </a:fld>
            <a:endParaRPr lang="en-GB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1F398499-DF64-37CF-8D9C-06FC877648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252534" y="6134616"/>
            <a:ext cx="1435437" cy="320697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7883D7-6BD2-4FA3-8675-DA1BF43D37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 sz="1400" dirty="0"/>
              <a:t>TMI TRANSTECH 2023  - 16</a:t>
            </a:r>
            <a:r>
              <a:rPr lang="en-GB" sz="1400" baseline="30000" dirty="0"/>
              <a:t>th</a:t>
            </a:r>
            <a:r>
              <a:rPr lang="en-GB" sz="1400" dirty="0"/>
              <a:t> March  2023 – Pune, Talegaon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C4502B-F7DD-4033-A83D-C530CE56B8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.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9461D9F0-749C-44D7-A2EE-FD83215B3A6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 dirty="0"/>
              <a:t>01 June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0330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884A7-3462-4113-8475-9E629098E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echnological advancements – Marine Insurance &amp; Claim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030886-D9EA-489E-BCF5-44E1955F96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0064" y="1532166"/>
            <a:ext cx="5876674" cy="4562248"/>
          </a:xfrm>
        </p:spPr>
        <p:txBody>
          <a:bodyPr/>
          <a:lstStyle/>
          <a:p>
            <a:endParaRPr lang="en-IN" sz="1800" dirty="0"/>
          </a:p>
          <a:p>
            <a:r>
              <a:rPr lang="en-IN" sz="1800" dirty="0"/>
              <a:t>Introduction</a:t>
            </a:r>
          </a:p>
          <a:p>
            <a:endParaRPr lang="en-IN" sz="1800" dirty="0"/>
          </a:p>
          <a:p>
            <a:r>
              <a:rPr lang="en-IN" sz="1800" dirty="0"/>
              <a:t>Trade – is all around us!?</a:t>
            </a:r>
          </a:p>
          <a:p>
            <a:endParaRPr lang="en-IN" sz="1800" dirty="0"/>
          </a:p>
          <a:p>
            <a:r>
              <a:rPr lang="en-IN" sz="1800" dirty="0"/>
              <a:t>Risk Landscape – Integrated Supply Chain Logistics </a:t>
            </a:r>
          </a:p>
          <a:p>
            <a:endParaRPr lang="en-IN" sz="1800" dirty="0"/>
          </a:p>
          <a:p>
            <a:r>
              <a:rPr lang="en-IN" sz="1800" dirty="0"/>
              <a:t>Risk Management – Responsibilities &amp; Complexity </a:t>
            </a:r>
          </a:p>
          <a:p>
            <a:endParaRPr lang="en-IN" sz="1800" dirty="0"/>
          </a:p>
          <a:p>
            <a:r>
              <a:rPr lang="en-IN" sz="1800" dirty="0"/>
              <a:t>Possible Solutions leveraging Technology! </a:t>
            </a:r>
          </a:p>
          <a:p>
            <a:pPr lvl="1"/>
            <a:endParaRPr lang="en-IN" sz="1400" dirty="0"/>
          </a:p>
          <a:p>
            <a:pPr lvl="1"/>
            <a:endParaRPr lang="en-IN" sz="1400" dirty="0"/>
          </a:p>
          <a:p>
            <a:pPr lvl="1"/>
            <a:endParaRPr lang="en-IN" sz="1400" dirty="0"/>
          </a:p>
          <a:p>
            <a:pPr lvl="1"/>
            <a:endParaRPr lang="en-IN" sz="1300" dirty="0"/>
          </a:p>
          <a:p>
            <a:endParaRPr lang="en-IN" sz="1600" dirty="0"/>
          </a:p>
          <a:p>
            <a:endParaRPr lang="en-IN" sz="16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1B7840-B725-4EC3-9DBD-FA033D9F6CA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6A72888-2D05-438C-8345-E6E8757B942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Placeholder 2">
            <a:extLst>
              <a:ext uri="{FF2B5EF4-FFF2-40B4-BE49-F238E27FC236}">
                <a16:creationId xmlns:a16="http://schemas.microsoft.com/office/drawing/2014/main" id="{DCA07745-191E-4C74-BDA8-62A0FF099D9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2266" r="12266"/>
          <a:stretch>
            <a:fillRect/>
          </a:stretch>
        </p:blipFill>
        <p:spPr>
          <a:xfrm>
            <a:off x="7173913" y="1431924"/>
            <a:ext cx="4514850" cy="4562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9617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76DA83-3D1E-4A7A-BCB5-88FAE40092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/>
              <a:pPr/>
              <a:t>3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EFA432-CF28-5041-96A7-E018CA76796A}"/>
              </a:ext>
            </a:extLst>
          </p:cNvPr>
          <p:cNvSpPr txBox="1">
            <a:spLocks/>
          </p:cNvSpPr>
          <p:nvPr/>
        </p:nvSpPr>
        <p:spPr>
          <a:xfrm>
            <a:off x="4479045" y="1861383"/>
            <a:ext cx="2007505" cy="1403170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algn="l"/>
            <a:r>
              <a:rPr lang="en-VN" sz="6000" dirty="0">
                <a:solidFill>
                  <a:schemeClr val="bg1"/>
                </a:solidFill>
                <a:latin typeface="Maersk Headline Light" pitchFamily="2" charset="77"/>
              </a:rPr>
              <a:t>20%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31D9AFDC-27C0-4C4E-985B-11392689FA57}"/>
              </a:ext>
            </a:extLst>
          </p:cNvPr>
          <p:cNvGrpSpPr>
            <a:grpSpLocks/>
          </p:cNvGrpSpPr>
          <p:nvPr/>
        </p:nvGrpSpPr>
        <p:grpSpPr>
          <a:xfrm>
            <a:off x="2323159" y="828850"/>
            <a:ext cx="1831581" cy="850794"/>
            <a:chOff x="737666" y="651520"/>
            <a:chExt cx="1831581" cy="85079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8F8DB91-7B45-AB4F-878B-B01707336089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737666" y="651520"/>
              <a:ext cx="1825344" cy="4310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>
                  <a:solidFill>
                    <a:schemeClr val="accent1"/>
                  </a:solidFill>
                  <a:latin typeface="Maersk Text Light" pitchFamily="2" charset="77"/>
                </a:rPr>
                <a:t>700+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4490495-8CBA-A740-B371-FDACD1D6D9B5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737667" y="1161853"/>
              <a:ext cx="1831580" cy="34046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container vessels are deployed on routes to and from</a:t>
              </a:r>
            </a:p>
          </p:txBody>
        </p:sp>
      </p:grpSp>
      <p:grpSp>
        <p:nvGrpSpPr>
          <p:cNvPr id="34" name="Graphic 6">
            <a:extLst>
              <a:ext uri="{FF2B5EF4-FFF2-40B4-BE49-F238E27FC236}">
                <a16:creationId xmlns:a16="http://schemas.microsoft.com/office/drawing/2014/main" id="{8AA021C3-9517-6944-ABA4-B344304DD10E}"/>
              </a:ext>
            </a:extLst>
          </p:cNvPr>
          <p:cNvGrpSpPr>
            <a:grpSpLocks/>
          </p:cNvGrpSpPr>
          <p:nvPr/>
        </p:nvGrpSpPr>
        <p:grpSpPr>
          <a:xfrm>
            <a:off x="4663865" y="2217145"/>
            <a:ext cx="2525590" cy="824387"/>
            <a:chOff x="4852661" y="2381592"/>
            <a:chExt cx="2525590" cy="824387"/>
          </a:xfrm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2B1A2157-D377-1543-AA5B-57A3BC169394}"/>
                </a:ext>
              </a:extLst>
            </p:cNvPr>
            <p:cNvSpPr/>
            <p:nvPr/>
          </p:nvSpPr>
          <p:spPr>
            <a:xfrm>
              <a:off x="4852661" y="2381592"/>
              <a:ext cx="2525590" cy="824387"/>
            </a:xfrm>
            <a:custGeom>
              <a:avLst/>
              <a:gdLst>
                <a:gd name="connsiteX0" fmla="*/ 2423944 w 2525590"/>
                <a:gd name="connsiteY0" fmla="*/ 792661 h 824387"/>
                <a:gd name="connsiteX1" fmla="*/ 2423944 w 2525590"/>
                <a:gd name="connsiteY1" fmla="*/ 31664 h 824387"/>
                <a:gd name="connsiteX2" fmla="*/ 2392202 w 2525590"/>
                <a:gd name="connsiteY2" fmla="*/ 0 h 824387"/>
                <a:gd name="connsiteX3" fmla="*/ 1630846 w 2525590"/>
                <a:gd name="connsiteY3" fmla="*/ 0 h 824387"/>
                <a:gd name="connsiteX4" fmla="*/ 1599167 w 2525590"/>
                <a:gd name="connsiteY4" fmla="*/ 31664 h 824387"/>
                <a:gd name="connsiteX5" fmla="*/ 1599167 w 2525590"/>
                <a:gd name="connsiteY5" fmla="*/ 792661 h 824387"/>
                <a:gd name="connsiteX6" fmla="*/ 0 w 2525590"/>
                <a:gd name="connsiteY6" fmla="*/ 792661 h 824387"/>
                <a:gd name="connsiteX7" fmla="*/ 0 w 2525590"/>
                <a:gd name="connsiteY7" fmla="*/ 824387 h 824387"/>
                <a:gd name="connsiteX8" fmla="*/ 2525591 w 2525590"/>
                <a:gd name="connsiteY8" fmla="*/ 824387 h 824387"/>
                <a:gd name="connsiteX9" fmla="*/ 2525591 w 2525590"/>
                <a:gd name="connsiteY9" fmla="*/ 792661 h 824387"/>
                <a:gd name="connsiteX10" fmla="*/ 2392202 w 2525590"/>
                <a:gd name="connsiteY10" fmla="*/ 792661 h 824387"/>
                <a:gd name="connsiteX11" fmla="*/ 1630846 w 2525590"/>
                <a:gd name="connsiteY11" fmla="*/ 792661 h 824387"/>
                <a:gd name="connsiteX12" fmla="*/ 1630846 w 2525590"/>
                <a:gd name="connsiteY12" fmla="*/ 428026 h 824387"/>
                <a:gd name="connsiteX13" fmla="*/ 2392202 w 2525590"/>
                <a:gd name="connsiteY13" fmla="*/ 428026 h 824387"/>
                <a:gd name="connsiteX14" fmla="*/ 2392202 w 2525590"/>
                <a:gd name="connsiteY14" fmla="*/ 396299 h 824387"/>
                <a:gd name="connsiteX15" fmla="*/ 1630846 w 2525590"/>
                <a:gd name="connsiteY15" fmla="*/ 396299 h 824387"/>
                <a:gd name="connsiteX16" fmla="*/ 1630846 w 2525590"/>
                <a:gd name="connsiteY16" fmla="*/ 31664 h 824387"/>
                <a:gd name="connsiteX17" fmla="*/ 2392202 w 2525590"/>
                <a:gd name="connsiteY17" fmla="*/ 31664 h 824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25590" h="824387">
                  <a:moveTo>
                    <a:pt x="2423944" y="792661"/>
                  </a:moveTo>
                  <a:lnTo>
                    <a:pt x="2423944" y="31664"/>
                  </a:lnTo>
                  <a:cubicBezTo>
                    <a:pt x="2423875" y="14180"/>
                    <a:pt x="2409694" y="31"/>
                    <a:pt x="2392202" y="0"/>
                  </a:cubicBezTo>
                  <a:lnTo>
                    <a:pt x="1630846" y="0"/>
                  </a:lnTo>
                  <a:cubicBezTo>
                    <a:pt x="1613366" y="37"/>
                    <a:pt x="1599198" y="14193"/>
                    <a:pt x="1599167" y="31664"/>
                  </a:cubicBezTo>
                  <a:lnTo>
                    <a:pt x="1599167" y="792661"/>
                  </a:lnTo>
                  <a:lnTo>
                    <a:pt x="0" y="792661"/>
                  </a:lnTo>
                  <a:lnTo>
                    <a:pt x="0" y="824387"/>
                  </a:lnTo>
                  <a:lnTo>
                    <a:pt x="2525591" y="824387"/>
                  </a:lnTo>
                  <a:lnTo>
                    <a:pt x="2525591" y="792661"/>
                  </a:lnTo>
                  <a:close/>
                  <a:moveTo>
                    <a:pt x="2392202" y="792661"/>
                  </a:moveTo>
                  <a:lnTo>
                    <a:pt x="1630846" y="792661"/>
                  </a:lnTo>
                  <a:lnTo>
                    <a:pt x="1630846" y="428026"/>
                  </a:lnTo>
                  <a:lnTo>
                    <a:pt x="2392202" y="428026"/>
                  </a:lnTo>
                  <a:close/>
                  <a:moveTo>
                    <a:pt x="2392202" y="396299"/>
                  </a:moveTo>
                  <a:lnTo>
                    <a:pt x="1630846" y="396299"/>
                  </a:lnTo>
                  <a:lnTo>
                    <a:pt x="1630846" y="31664"/>
                  </a:lnTo>
                  <a:lnTo>
                    <a:pt x="2392202" y="31664"/>
                  </a:lnTo>
                  <a:close/>
                </a:path>
              </a:pathLst>
            </a:custGeom>
            <a:solidFill>
              <a:srgbClr val="42B0D5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 dirty="0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1F890443-6D7C-BB4E-B489-744E743DCEC2}"/>
                </a:ext>
              </a:extLst>
            </p:cNvPr>
            <p:cNvSpPr/>
            <p:nvPr/>
          </p:nvSpPr>
          <p:spPr>
            <a:xfrm>
              <a:off x="6610409" y="2508373"/>
              <a:ext cx="31741" cy="174401"/>
            </a:xfrm>
            <a:custGeom>
              <a:avLst/>
              <a:gdLst>
                <a:gd name="connsiteX0" fmla="*/ 0 w 31741"/>
                <a:gd name="connsiteY0" fmla="*/ 0 h 174401"/>
                <a:gd name="connsiteX1" fmla="*/ 31741 w 31741"/>
                <a:gd name="connsiteY1" fmla="*/ 0 h 174401"/>
                <a:gd name="connsiteX2" fmla="*/ 31741 w 31741"/>
                <a:gd name="connsiteY2" fmla="*/ 174402 h 174401"/>
                <a:gd name="connsiteX3" fmla="*/ 0 w 31741"/>
                <a:gd name="connsiteY3" fmla="*/ 174402 h 17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1" h="174401">
                  <a:moveTo>
                    <a:pt x="0" y="0"/>
                  </a:moveTo>
                  <a:lnTo>
                    <a:pt x="31741" y="0"/>
                  </a:lnTo>
                  <a:lnTo>
                    <a:pt x="31741" y="174402"/>
                  </a:lnTo>
                  <a:lnTo>
                    <a:pt x="0" y="17440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641EAEBA-C1DA-734A-8EBC-34B073F2C5C3}"/>
                </a:ext>
              </a:extLst>
            </p:cNvPr>
            <p:cNvSpPr/>
            <p:nvPr/>
          </p:nvSpPr>
          <p:spPr>
            <a:xfrm>
              <a:off x="7086280" y="2508373"/>
              <a:ext cx="31741" cy="174401"/>
            </a:xfrm>
            <a:custGeom>
              <a:avLst/>
              <a:gdLst>
                <a:gd name="connsiteX0" fmla="*/ 0 w 31741"/>
                <a:gd name="connsiteY0" fmla="*/ 0 h 174401"/>
                <a:gd name="connsiteX1" fmla="*/ 31741 w 31741"/>
                <a:gd name="connsiteY1" fmla="*/ 0 h 174401"/>
                <a:gd name="connsiteX2" fmla="*/ 31741 w 31741"/>
                <a:gd name="connsiteY2" fmla="*/ 174402 h 174401"/>
                <a:gd name="connsiteX3" fmla="*/ 0 w 31741"/>
                <a:gd name="connsiteY3" fmla="*/ 174402 h 17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1" h="174401">
                  <a:moveTo>
                    <a:pt x="0" y="0"/>
                  </a:moveTo>
                  <a:lnTo>
                    <a:pt x="31741" y="0"/>
                  </a:lnTo>
                  <a:lnTo>
                    <a:pt x="31741" y="174402"/>
                  </a:lnTo>
                  <a:lnTo>
                    <a:pt x="0" y="17440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37E01590-EF61-1640-99F6-AB006B1492FA}"/>
                </a:ext>
              </a:extLst>
            </p:cNvPr>
            <p:cNvSpPr/>
            <p:nvPr/>
          </p:nvSpPr>
          <p:spPr>
            <a:xfrm>
              <a:off x="6927636" y="2508373"/>
              <a:ext cx="31741" cy="174401"/>
            </a:xfrm>
            <a:custGeom>
              <a:avLst/>
              <a:gdLst>
                <a:gd name="connsiteX0" fmla="*/ 0 w 31741"/>
                <a:gd name="connsiteY0" fmla="*/ 0 h 174401"/>
                <a:gd name="connsiteX1" fmla="*/ 31741 w 31741"/>
                <a:gd name="connsiteY1" fmla="*/ 0 h 174401"/>
                <a:gd name="connsiteX2" fmla="*/ 31741 w 31741"/>
                <a:gd name="connsiteY2" fmla="*/ 174402 h 174401"/>
                <a:gd name="connsiteX3" fmla="*/ 0 w 31741"/>
                <a:gd name="connsiteY3" fmla="*/ 174402 h 17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1" h="174401">
                  <a:moveTo>
                    <a:pt x="0" y="0"/>
                  </a:moveTo>
                  <a:lnTo>
                    <a:pt x="31741" y="0"/>
                  </a:lnTo>
                  <a:lnTo>
                    <a:pt x="31741" y="174402"/>
                  </a:lnTo>
                  <a:lnTo>
                    <a:pt x="0" y="17440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198952E7-4A46-3B47-9B9D-C3320B7A7290}"/>
                </a:ext>
              </a:extLst>
            </p:cNvPr>
            <p:cNvSpPr/>
            <p:nvPr/>
          </p:nvSpPr>
          <p:spPr>
            <a:xfrm>
              <a:off x="6769054" y="2508373"/>
              <a:ext cx="31741" cy="174401"/>
            </a:xfrm>
            <a:custGeom>
              <a:avLst/>
              <a:gdLst>
                <a:gd name="connsiteX0" fmla="*/ 0 w 31741"/>
                <a:gd name="connsiteY0" fmla="*/ 0 h 174401"/>
                <a:gd name="connsiteX1" fmla="*/ 31741 w 31741"/>
                <a:gd name="connsiteY1" fmla="*/ 0 h 174401"/>
                <a:gd name="connsiteX2" fmla="*/ 31741 w 31741"/>
                <a:gd name="connsiteY2" fmla="*/ 174402 h 174401"/>
                <a:gd name="connsiteX3" fmla="*/ 0 w 31741"/>
                <a:gd name="connsiteY3" fmla="*/ 174402 h 17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1" h="174401">
                  <a:moveTo>
                    <a:pt x="0" y="0"/>
                  </a:moveTo>
                  <a:lnTo>
                    <a:pt x="31741" y="0"/>
                  </a:lnTo>
                  <a:lnTo>
                    <a:pt x="31741" y="174402"/>
                  </a:lnTo>
                  <a:lnTo>
                    <a:pt x="0" y="17440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036443EB-C4A1-3D4B-8246-E66E3D304123}"/>
                </a:ext>
              </a:extLst>
            </p:cNvPr>
            <p:cNvSpPr/>
            <p:nvPr/>
          </p:nvSpPr>
          <p:spPr>
            <a:xfrm>
              <a:off x="6610409" y="2904735"/>
              <a:ext cx="31741" cy="174401"/>
            </a:xfrm>
            <a:custGeom>
              <a:avLst/>
              <a:gdLst>
                <a:gd name="connsiteX0" fmla="*/ 0 w 31741"/>
                <a:gd name="connsiteY0" fmla="*/ 0 h 174401"/>
                <a:gd name="connsiteX1" fmla="*/ 31741 w 31741"/>
                <a:gd name="connsiteY1" fmla="*/ 0 h 174401"/>
                <a:gd name="connsiteX2" fmla="*/ 31741 w 31741"/>
                <a:gd name="connsiteY2" fmla="*/ 174402 h 174401"/>
                <a:gd name="connsiteX3" fmla="*/ 0 w 31741"/>
                <a:gd name="connsiteY3" fmla="*/ 174402 h 17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1" h="174401">
                  <a:moveTo>
                    <a:pt x="0" y="0"/>
                  </a:moveTo>
                  <a:lnTo>
                    <a:pt x="31741" y="0"/>
                  </a:lnTo>
                  <a:lnTo>
                    <a:pt x="31741" y="174402"/>
                  </a:lnTo>
                  <a:lnTo>
                    <a:pt x="0" y="17440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CEAEF31F-E311-EA40-B5E4-1C027E550AD9}"/>
                </a:ext>
              </a:extLst>
            </p:cNvPr>
            <p:cNvSpPr/>
            <p:nvPr/>
          </p:nvSpPr>
          <p:spPr>
            <a:xfrm>
              <a:off x="7086280" y="2904735"/>
              <a:ext cx="31741" cy="174401"/>
            </a:xfrm>
            <a:custGeom>
              <a:avLst/>
              <a:gdLst>
                <a:gd name="connsiteX0" fmla="*/ 0 w 31741"/>
                <a:gd name="connsiteY0" fmla="*/ 0 h 174401"/>
                <a:gd name="connsiteX1" fmla="*/ 31741 w 31741"/>
                <a:gd name="connsiteY1" fmla="*/ 0 h 174401"/>
                <a:gd name="connsiteX2" fmla="*/ 31741 w 31741"/>
                <a:gd name="connsiteY2" fmla="*/ 174402 h 174401"/>
                <a:gd name="connsiteX3" fmla="*/ 0 w 31741"/>
                <a:gd name="connsiteY3" fmla="*/ 174402 h 17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1" h="174401">
                  <a:moveTo>
                    <a:pt x="0" y="0"/>
                  </a:moveTo>
                  <a:lnTo>
                    <a:pt x="31741" y="0"/>
                  </a:lnTo>
                  <a:lnTo>
                    <a:pt x="31741" y="174402"/>
                  </a:lnTo>
                  <a:lnTo>
                    <a:pt x="0" y="17440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1C76BAA9-3D47-F64F-BCA5-A8F3A645AA7E}"/>
                </a:ext>
              </a:extLst>
            </p:cNvPr>
            <p:cNvSpPr/>
            <p:nvPr/>
          </p:nvSpPr>
          <p:spPr>
            <a:xfrm>
              <a:off x="6927636" y="2904735"/>
              <a:ext cx="31741" cy="174401"/>
            </a:xfrm>
            <a:custGeom>
              <a:avLst/>
              <a:gdLst>
                <a:gd name="connsiteX0" fmla="*/ 0 w 31741"/>
                <a:gd name="connsiteY0" fmla="*/ 0 h 174401"/>
                <a:gd name="connsiteX1" fmla="*/ 31741 w 31741"/>
                <a:gd name="connsiteY1" fmla="*/ 0 h 174401"/>
                <a:gd name="connsiteX2" fmla="*/ 31741 w 31741"/>
                <a:gd name="connsiteY2" fmla="*/ 174402 h 174401"/>
                <a:gd name="connsiteX3" fmla="*/ 0 w 31741"/>
                <a:gd name="connsiteY3" fmla="*/ 174402 h 17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1" h="174401">
                  <a:moveTo>
                    <a:pt x="0" y="0"/>
                  </a:moveTo>
                  <a:lnTo>
                    <a:pt x="31741" y="0"/>
                  </a:lnTo>
                  <a:lnTo>
                    <a:pt x="31741" y="174402"/>
                  </a:lnTo>
                  <a:lnTo>
                    <a:pt x="0" y="17440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F5D1A1B6-58BD-6E44-A662-EE9361476ABA}"/>
                </a:ext>
              </a:extLst>
            </p:cNvPr>
            <p:cNvSpPr/>
            <p:nvPr/>
          </p:nvSpPr>
          <p:spPr>
            <a:xfrm>
              <a:off x="6769054" y="2904735"/>
              <a:ext cx="31741" cy="174401"/>
            </a:xfrm>
            <a:custGeom>
              <a:avLst/>
              <a:gdLst>
                <a:gd name="connsiteX0" fmla="*/ 0 w 31741"/>
                <a:gd name="connsiteY0" fmla="*/ 0 h 174401"/>
                <a:gd name="connsiteX1" fmla="*/ 31741 w 31741"/>
                <a:gd name="connsiteY1" fmla="*/ 0 h 174401"/>
                <a:gd name="connsiteX2" fmla="*/ 31741 w 31741"/>
                <a:gd name="connsiteY2" fmla="*/ 174402 h 174401"/>
                <a:gd name="connsiteX3" fmla="*/ 0 w 31741"/>
                <a:gd name="connsiteY3" fmla="*/ 174402 h 17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1" h="174401">
                  <a:moveTo>
                    <a:pt x="0" y="0"/>
                  </a:moveTo>
                  <a:lnTo>
                    <a:pt x="31741" y="0"/>
                  </a:lnTo>
                  <a:lnTo>
                    <a:pt x="31741" y="174402"/>
                  </a:lnTo>
                  <a:lnTo>
                    <a:pt x="0" y="17440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</p:grpSp>
      <p:sp>
        <p:nvSpPr>
          <p:cNvPr id="49" name="Freeform 48">
            <a:extLst>
              <a:ext uri="{FF2B5EF4-FFF2-40B4-BE49-F238E27FC236}">
                <a16:creationId xmlns:a16="http://schemas.microsoft.com/office/drawing/2014/main" id="{5640F459-309C-9248-9AF8-A1E2F433DB9D}"/>
              </a:ext>
            </a:extLst>
          </p:cNvPr>
          <p:cNvSpPr>
            <a:spLocks/>
          </p:cNvSpPr>
          <p:nvPr/>
        </p:nvSpPr>
        <p:spPr>
          <a:xfrm>
            <a:off x="3221192" y="820455"/>
            <a:ext cx="6236" cy="6233"/>
          </a:xfrm>
          <a:custGeom>
            <a:avLst/>
            <a:gdLst/>
            <a:ahLst/>
            <a:cxnLst/>
            <a:rect l="l" t="t" r="r" b="b"/>
            <a:pathLst>
              <a:path w="6236" h="6233"/>
            </a:pathLst>
          </a:custGeom>
          <a:solidFill>
            <a:srgbClr val="FFFFFF"/>
          </a:solidFill>
          <a:ln w="6229" cap="flat">
            <a:noFill/>
            <a:prstDash val="solid"/>
            <a:miter/>
          </a:ln>
        </p:spPr>
        <p:txBody>
          <a:bodyPr rtlCol="0" anchor="ctr"/>
          <a:lstStyle/>
          <a:p>
            <a:endParaRPr lang="en-VN"/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C1E19A2E-9090-CD4E-B073-9F1AD21A3D4B}"/>
              </a:ext>
            </a:extLst>
          </p:cNvPr>
          <p:cNvGrpSpPr>
            <a:grpSpLocks/>
          </p:cNvGrpSpPr>
          <p:nvPr/>
        </p:nvGrpSpPr>
        <p:grpSpPr>
          <a:xfrm>
            <a:off x="3413563" y="820452"/>
            <a:ext cx="5364873" cy="4871874"/>
            <a:chOff x="3221191" y="820451"/>
            <a:chExt cx="5746499" cy="5218431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3930D5DB-2F14-364D-B04A-A10F431FE0FA}"/>
                </a:ext>
              </a:extLst>
            </p:cNvPr>
            <p:cNvSpPr/>
            <p:nvPr/>
          </p:nvSpPr>
          <p:spPr>
            <a:xfrm>
              <a:off x="3578578" y="820451"/>
              <a:ext cx="5071198" cy="5218431"/>
            </a:xfrm>
            <a:custGeom>
              <a:avLst/>
              <a:gdLst>
                <a:gd name="connsiteX0" fmla="*/ 157335 w 5071198"/>
                <a:gd name="connsiteY0" fmla="*/ 1605022 h 5218431"/>
                <a:gd name="connsiteX1" fmla="*/ 710533 w 5071198"/>
                <a:gd name="connsiteY1" fmla="*/ 784997 h 5218431"/>
                <a:gd name="connsiteX2" fmla="*/ 743272 w 5071198"/>
                <a:gd name="connsiteY2" fmla="*/ 752897 h 5218431"/>
                <a:gd name="connsiteX3" fmla="*/ 728118 w 5071198"/>
                <a:gd name="connsiteY3" fmla="*/ 726656 h 5218431"/>
                <a:gd name="connsiteX4" fmla="*/ 689705 w 5071198"/>
                <a:gd name="connsiteY4" fmla="*/ 764054 h 5218431"/>
                <a:gd name="connsiteX5" fmla="*/ 0 w 5071198"/>
                <a:gd name="connsiteY5" fmla="*/ 1985738 h 5218431"/>
                <a:gd name="connsiteX6" fmla="*/ 30245 w 5071198"/>
                <a:gd name="connsiteY6" fmla="*/ 1985738 h 5218431"/>
                <a:gd name="connsiteX7" fmla="*/ 157335 w 5071198"/>
                <a:gd name="connsiteY7" fmla="*/ 1605022 h 5218431"/>
                <a:gd name="connsiteX8" fmla="*/ 157335 w 5071198"/>
                <a:gd name="connsiteY8" fmla="*/ 3613446 h 5218431"/>
                <a:gd name="connsiteX9" fmla="*/ 30245 w 5071198"/>
                <a:gd name="connsiteY9" fmla="*/ 3232542 h 5218431"/>
                <a:gd name="connsiteX10" fmla="*/ 0 w 5071198"/>
                <a:gd name="connsiteY10" fmla="*/ 3232542 h 5218431"/>
                <a:gd name="connsiteX11" fmla="*/ 689705 w 5071198"/>
                <a:gd name="connsiteY11" fmla="*/ 4454226 h 5218431"/>
                <a:gd name="connsiteX12" fmla="*/ 728118 w 5071198"/>
                <a:gd name="connsiteY12" fmla="*/ 4491625 h 5218431"/>
                <a:gd name="connsiteX13" fmla="*/ 743272 w 5071198"/>
                <a:gd name="connsiteY13" fmla="*/ 4465384 h 5218431"/>
                <a:gd name="connsiteX14" fmla="*/ 710533 w 5071198"/>
                <a:gd name="connsiteY14" fmla="*/ 4433283 h 5218431"/>
                <a:gd name="connsiteX15" fmla="*/ 157335 w 5071198"/>
                <a:gd name="connsiteY15" fmla="*/ 3613446 h 5218431"/>
                <a:gd name="connsiteX16" fmla="*/ 2535568 w 5071198"/>
                <a:gd name="connsiteY16" fmla="*/ 3 h 5218431"/>
                <a:gd name="connsiteX17" fmla="*/ 1807886 w 5071198"/>
                <a:gd name="connsiteY17" fmla="*/ 102662 h 5218431"/>
                <a:gd name="connsiteX18" fmla="*/ 1822978 w 5071198"/>
                <a:gd name="connsiteY18" fmla="*/ 128903 h 5218431"/>
                <a:gd name="connsiteX19" fmla="*/ 3248221 w 5071198"/>
                <a:gd name="connsiteY19" fmla="*/ 128903 h 5218431"/>
                <a:gd name="connsiteX20" fmla="*/ 3263312 w 5071198"/>
                <a:gd name="connsiteY20" fmla="*/ 102662 h 5218431"/>
                <a:gd name="connsiteX21" fmla="*/ 2535568 w 5071198"/>
                <a:gd name="connsiteY21" fmla="*/ 3 h 5218431"/>
                <a:gd name="connsiteX22" fmla="*/ 4913802 w 5071198"/>
                <a:gd name="connsiteY22" fmla="*/ 1605022 h 5218431"/>
                <a:gd name="connsiteX23" fmla="*/ 5040954 w 5071198"/>
                <a:gd name="connsiteY23" fmla="*/ 1985925 h 5218431"/>
                <a:gd name="connsiteX24" fmla="*/ 5071199 w 5071198"/>
                <a:gd name="connsiteY24" fmla="*/ 1985925 h 5218431"/>
                <a:gd name="connsiteX25" fmla="*/ 4381432 w 5071198"/>
                <a:gd name="connsiteY25" fmla="*/ 764241 h 5218431"/>
                <a:gd name="connsiteX26" fmla="*/ 4343081 w 5071198"/>
                <a:gd name="connsiteY26" fmla="*/ 726843 h 5218431"/>
                <a:gd name="connsiteX27" fmla="*/ 4327927 w 5071198"/>
                <a:gd name="connsiteY27" fmla="*/ 753022 h 5218431"/>
                <a:gd name="connsiteX28" fmla="*/ 4360666 w 5071198"/>
                <a:gd name="connsiteY28" fmla="*/ 785122 h 5218431"/>
                <a:gd name="connsiteX29" fmla="*/ 4913802 w 5071198"/>
                <a:gd name="connsiteY29" fmla="*/ 1605022 h 5218431"/>
                <a:gd name="connsiteX30" fmla="*/ 4913802 w 5071198"/>
                <a:gd name="connsiteY30" fmla="*/ 3613446 h 5218431"/>
                <a:gd name="connsiteX31" fmla="*/ 4360666 w 5071198"/>
                <a:gd name="connsiteY31" fmla="*/ 4433470 h 5218431"/>
                <a:gd name="connsiteX32" fmla="*/ 4327927 w 5071198"/>
                <a:gd name="connsiteY32" fmla="*/ 4465570 h 5218431"/>
                <a:gd name="connsiteX33" fmla="*/ 4343081 w 5071198"/>
                <a:gd name="connsiteY33" fmla="*/ 4491749 h 5218431"/>
                <a:gd name="connsiteX34" fmla="*/ 4381432 w 5071198"/>
                <a:gd name="connsiteY34" fmla="*/ 4454351 h 5218431"/>
                <a:gd name="connsiteX35" fmla="*/ 5071199 w 5071198"/>
                <a:gd name="connsiteY35" fmla="*/ 3232667 h 5218431"/>
                <a:gd name="connsiteX36" fmla="*/ 5040954 w 5071198"/>
                <a:gd name="connsiteY36" fmla="*/ 3232667 h 5218431"/>
                <a:gd name="connsiteX37" fmla="*/ 4913802 w 5071198"/>
                <a:gd name="connsiteY37" fmla="*/ 3613446 h 5218431"/>
                <a:gd name="connsiteX38" fmla="*/ 3248221 w 5071198"/>
                <a:gd name="connsiteY38" fmla="*/ 5089564 h 5218431"/>
                <a:gd name="connsiteX39" fmla="*/ 1822978 w 5071198"/>
                <a:gd name="connsiteY39" fmla="*/ 5089564 h 5218431"/>
                <a:gd name="connsiteX40" fmla="*/ 1807824 w 5071198"/>
                <a:gd name="connsiteY40" fmla="*/ 5115806 h 5218431"/>
                <a:gd name="connsiteX41" fmla="*/ 3263375 w 5071198"/>
                <a:gd name="connsiteY41" fmla="*/ 5115806 h 52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071198" h="5218431">
                  <a:moveTo>
                    <a:pt x="157335" y="1605022"/>
                  </a:moveTo>
                  <a:cubicBezTo>
                    <a:pt x="286907" y="1298473"/>
                    <a:pt x="474780" y="1019978"/>
                    <a:pt x="710533" y="784997"/>
                  </a:cubicBezTo>
                  <a:cubicBezTo>
                    <a:pt x="721384" y="774152"/>
                    <a:pt x="732297" y="763450"/>
                    <a:pt x="743272" y="752897"/>
                  </a:cubicBezTo>
                  <a:lnTo>
                    <a:pt x="728118" y="726656"/>
                  </a:lnTo>
                  <a:cubicBezTo>
                    <a:pt x="715210" y="739122"/>
                    <a:pt x="702426" y="751588"/>
                    <a:pt x="689705" y="764054"/>
                  </a:cubicBezTo>
                  <a:cubicBezTo>
                    <a:pt x="352385" y="1100603"/>
                    <a:pt x="113838" y="1523144"/>
                    <a:pt x="0" y="1985738"/>
                  </a:cubicBezTo>
                  <a:lnTo>
                    <a:pt x="30245" y="1985738"/>
                  </a:lnTo>
                  <a:cubicBezTo>
                    <a:pt x="62572" y="1855704"/>
                    <a:pt x="105066" y="1728406"/>
                    <a:pt x="157335" y="1605022"/>
                  </a:cubicBezTo>
                  <a:close/>
                  <a:moveTo>
                    <a:pt x="157335" y="3613446"/>
                  </a:moveTo>
                  <a:cubicBezTo>
                    <a:pt x="105056" y="3489999"/>
                    <a:pt x="62562" y="3362639"/>
                    <a:pt x="30245" y="3232542"/>
                  </a:cubicBezTo>
                  <a:lnTo>
                    <a:pt x="0" y="3232542"/>
                  </a:lnTo>
                  <a:cubicBezTo>
                    <a:pt x="113838" y="3695136"/>
                    <a:pt x="352385" y="4117677"/>
                    <a:pt x="689705" y="4454226"/>
                  </a:cubicBezTo>
                  <a:cubicBezTo>
                    <a:pt x="702177" y="4466692"/>
                    <a:pt x="715210" y="4479159"/>
                    <a:pt x="728118" y="4491625"/>
                  </a:cubicBezTo>
                  <a:lnTo>
                    <a:pt x="743272" y="4465384"/>
                  </a:lnTo>
                  <a:cubicBezTo>
                    <a:pt x="732297" y="4454868"/>
                    <a:pt x="721384" y="4444172"/>
                    <a:pt x="710533" y="4433283"/>
                  </a:cubicBezTo>
                  <a:cubicBezTo>
                    <a:pt x="474799" y="4198352"/>
                    <a:pt x="286926" y="3919926"/>
                    <a:pt x="157335" y="3613446"/>
                  </a:cubicBezTo>
                  <a:close/>
                  <a:moveTo>
                    <a:pt x="2535568" y="3"/>
                  </a:moveTo>
                  <a:cubicBezTo>
                    <a:pt x="2289370" y="-367"/>
                    <a:pt x="2044363" y="34197"/>
                    <a:pt x="1807886" y="102662"/>
                  </a:cubicBezTo>
                  <a:lnTo>
                    <a:pt x="1822978" y="128903"/>
                  </a:lnTo>
                  <a:cubicBezTo>
                    <a:pt x="2288778" y="-3819"/>
                    <a:pt x="2782421" y="-3819"/>
                    <a:pt x="3248221" y="128903"/>
                  </a:cubicBezTo>
                  <a:lnTo>
                    <a:pt x="3263312" y="102662"/>
                  </a:lnTo>
                  <a:cubicBezTo>
                    <a:pt x="3026811" y="34193"/>
                    <a:pt x="2781785" y="-372"/>
                    <a:pt x="2535568" y="3"/>
                  </a:cubicBezTo>
                  <a:close/>
                  <a:moveTo>
                    <a:pt x="4913802" y="1605022"/>
                  </a:moveTo>
                  <a:cubicBezTo>
                    <a:pt x="4966128" y="1728456"/>
                    <a:pt x="5008645" y="1855816"/>
                    <a:pt x="5040954" y="1985925"/>
                  </a:cubicBezTo>
                  <a:lnTo>
                    <a:pt x="5071199" y="1985925"/>
                  </a:lnTo>
                  <a:cubicBezTo>
                    <a:pt x="4957342" y="1523325"/>
                    <a:pt x="4718776" y="1100778"/>
                    <a:pt x="4381432" y="764241"/>
                  </a:cubicBezTo>
                  <a:cubicBezTo>
                    <a:pt x="4368960" y="751775"/>
                    <a:pt x="4356176" y="739309"/>
                    <a:pt x="4343081" y="726843"/>
                  </a:cubicBezTo>
                  <a:lnTo>
                    <a:pt x="4327927" y="753022"/>
                  </a:lnTo>
                  <a:cubicBezTo>
                    <a:pt x="4338965" y="763556"/>
                    <a:pt x="4349816" y="774277"/>
                    <a:pt x="4360666" y="785122"/>
                  </a:cubicBezTo>
                  <a:cubicBezTo>
                    <a:pt x="4596388" y="1020072"/>
                    <a:pt x="4784242" y="1298522"/>
                    <a:pt x="4913802" y="1605022"/>
                  </a:cubicBezTo>
                  <a:close/>
                  <a:moveTo>
                    <a:pt x="4913802" y="3613446"/>
                  </a:moveTo>
                  <a:cubicBezTo>
                    <a:pt x="4784254" y="3919989"/>
                    <a:pt x="4596401" y="4198483"/>
                    <a:pt x="4360666" y="4433470"/>
                  </a:cubicBezTo>
                  <a:cubicBezTo>
                    <a:pt x="4349816" y="4444316"/>
                    <a:pt x="4338965" y="4455037"/>
                    <a:pt x="4327927" y="4465570"/>
                  </a:cubicBezTo>
                  <a:lnTo>
                    <a:pt x="4343081" y="4491749"/>
                  </a:lnTo>
                  <a:cubicBezTo>
                    <a:pt x="4356008" y="4479283"/>
                    <a:pt x="4368792" y="4466817"/>
                    <a:pt x="4381432" y="4454351"/>
                  </a:cubicBezTo>
                  <a:cubicBezTo>
                    <a:pt x="4718776" y="4117814"/>
                    <a:pt x="4957342" y="3695267"/>
                    <a:pt x="5071199" y="3232667"/>
                  </a:cubicBezTo>
                  <a:lnTo>
                    <a:pt x="5040954" y="3232667"/>
                  </a:lnTo>
                  <a:cubicBezTo>
                    <a:pt x="5008639" y="3362732"/>
                    <a:pt x="4966122" y="3490056"/>
                    <a:pt x="4913802" y="3613446"/>
                  </a:cubicBezTo>
                  <a:close/>
                  <a:moveTo>
                    <a:pt x="3248221" y="5089564"/>
                  </a:moveTo>
                  <a:cubicBezTo>
                    <a:pt x="2782409" y="5222204"/>
                    <a:pt x="2288790" y="5222204"/>
                    <a:pt x="1822978" y="5089564"/>
                  </a:cubicBezTo>
                  <a:lnTo>
                    <a:pt x="1807824" y="5115806"/>
                  </a:lnTo>
                  <a:cubicBezTo>
                    <a:pt x="2283352" y="5252641"/>
                    <a:pt x="2787847" y="5252641"/>
                    <a:pt x="3263375" y="5115806"/>
                  </a:cubicBezTo>
                  <a:close/>
                </a:path>
              </a:pathLst>
            </a:custGeom>
            <a:solidFill>
              <a:srgbClr val="42B0D5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grpSp>
          <p:nvGrpSpPr>
            <p:cNvPr id="20" name="Graphic 6">
              <a:extLst>
                <a:ext uri="{FF2B5EF4-FFF2-40B4-BE49-F238E27FC236}">
                  <a16:creationId xmlns:a16="http://schemas.microsoft.com/office/drawing/2014/main" id="{8AA021C3-9517-6944-ABA4-B344304DD10E}"/>
                </a:ext>
              </a:extLst>
            </p:cNvPr>
            <p:cNvGrpSpPr/>
            <p:nvPr/>
          </p:nvGrpSpPr>
          <p:grpSpPr>
            <a:xfrm>
              <a:off x="4166635" y="951661"/>
              <a:ext cx="1421813" cy="411383"/>
              <a:chOff x="3954299" y="951661"/>
              <a:chExt cx="1421813" cy="411383"/>
            </a:xfrm>
            <a:solidFill>
              <a:srgbClr val="FFFFFF"/>
            </a:solidFill>
          </p:grpSpPr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0E69F58A-074E-D748-A551-456E6A4362B9}"/>
                  </a:ext>
                </a:extLst>
              </p:cNvPr>
              <p:cNvSpPr/>
              <p:nvPr/>
            </p:nvSpPr>
            <p:spPr>
              <a:xfrm>
                <a:off x="4216212" y="1082556"/>
                <a:ext cx="18708" cy="74796"/>
              </a:xfrm>
              <a:custGeom>
                <a:avLst/>
                <a:gdLst>
                  <a:gd name="connsiteX0" fmla="*/ 0 w 18708"/>
                  <a:gd name="connsiteY0" fmla="*/ 0 h 74796"/>
                  <a:gd name="connsiteX1" fmla="*/ 18708 w 18708"/>
                  <a:gd name="connsiteY1" fmla="*/ 0 h 74796"/>
                  <a:gd name="connsiteX2" fmla="*/ 18708 w 18708"/>
                  <a:gd name="connsiteY2" fmla="*/ 74797 h 74796"/>
                  <a:gd name="connsiteX3" fmla="*/ 0 w 18708"/>
                  <a:gd name="connsiteY3" fmla="*/ 74797 h 7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74796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74797"/>
                    </a:lnTo>
                    <a:lnTo>
                      <a:pt x="0" y="74797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9E24C196-E8D8-5B48-A1F0-D852D89EC8C5}"/>
                  </a:ext>
                </a:extLst>
              </p:cNvPr>
              <p:cNvSpPr/>
              <p:nvPr/>
            </p:nvSpPr>
            <p:spPr>
              <a:xfrm>
                <a:off x="4272336" y="1082556"/>
                <a:ext cx="18708" cy="74796"/>
              </a:xfrm>
              <a:custGeom>
                <a:avLst/>
                <a:gdLst>
                  <a:gd name="connsiteX0" fmla="*/ 0 w 18708"/>
                  <a:gd name="connsiteY0" fmla="*/ 0 h 74796"/>
                  <a:gd name="connsiteX1" fmla="*/ 18708 w 18708"/>
                  <a:gd name="connsiteY1" fmla="*/ 0 h 74796"/>
                  <a:gd name="connsiteX2" fmla="*/ 18708 w 18708"/>
                  <a:gd name="connsiteY2" fmla="*/ 74797 h 74796"/>
                  <a:gd name="connsiteX3" fmla="*/ 0 w 18708"/>
                  <a:gd name="connsiteY3" fmla="*/ 74797 h 7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74796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74797"/>
                    </a:lnTo>
                    <a:lnTo>
                      <a:pt x="0" y="74797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4FC8BA63-D4FC-7545-A9AF-57141DB0AA4B}"/>
                  </a:ext>
                </a:extLst>
              </p:cNvPr>
              <p:cNvSpPr/>
              <p:nvPr/>
            </p:nvSpPr>
            <p:spPr>
              <a:xfrm>
                <a:off x="4328460" y="1082556"/>
                <a:ext cx="18708" cy="74796"/>
              </a:xfrm>
              <a:custGeom>
                <a:avLst/>
                <a:gdLst>
                  <a:gd name="connsiteX0" fmla="*/ 0 w 18708"/>
                  <a:gd name="connsiteY0" fmla="*/ 0 h 74796"/>
                  <a:gd name="connsiteX1" fmla="*/ 18708 w 18708"/>
                  <a:gd name="connsiteY1" fmla="*/ 0 h 74796"/>
                  <a:gd name="connsiteX2" fmla="*/ 18708 w 18708"/>
                  <a:gd name="connsiteY2" fmla="*/ 74797 h 74796"/>
                  <a:gd name="connsiteX3" fmla="*/ 0 w 18708"/>
                  <a:gd name="connsiteY3" fmla="*/ 74797 h 7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74796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74797"/>
                    </a:lnTo>
                    <a:lnTo>
                      <a:pt x="0" y="74797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858FEBA1-233C-0444-A650-8EFBC3E2897A}"/>
                  </a:ext>
                </a:extLst>
              </p:cNvPr>
              <p:cNvSpPr/>
              <p:nvPr/>
            </p:nvSpPr>
            <p:spPr>
              <a:xfrm>
                <a:off x="3954299" y="951661"/>
                <a:ext cx="1421813" cy="411383"/>
              </a:xfrm>
              <a:custGeom>
                <a:avLst/>
                <a:gdLst>
                  <a:gd name="connsiteX0" fmla="*/ 1403106 w 1421813"/>
                  <a:gd name="connsiteY0" fmla="*/ 373985 h 411383"/>
                  <a:gd name="connsiteX1" fmla="*/ 1384398 w 1421813"/>
                  <a:gd name="connsiteY1" fmla="*/ 392684 h 411383"/>
                  <a:gd name="connsiteX2" fmla="*/ 1346982 w 1421813"/>
                  <a:gd name="connsiteY2" fmla="*/ 392684 h 411383"/>
                  <a:gd name="connsiteX3" fmla="*/ 1328274 w 1421813"/>
                  <a:gd name="connsiteY3" fmla="*/ 373985 h 411383"/>
                  <a:gd name="connsiteX4" fmla="*/ 1309566 w 1421813"/>
                  <a:gd name="connsiteY4" fmla="*/ 373985 h 411383"/>
                  <a:gd name="connsiteX5" fmla="*/ 1290857 w 1421813"/>
                  <a:gd name="connsiteY5" fmla="*/ 392684 h 411383"/>
                  <a:gd name="connsiteX6" fmla="*/ 1253441 w 1421813"/>
                  <a:gd name="connsiteY6" fmla="*/ 392684 h 411383"/>
                  <a:gd name="connsiteX7" fmla="*/ 1234733 w 1421813"/>
                  <a:gd name="connsiteY7" fmla="*/ 373985 h 411383"/>
                  <a:gd name="connsiteX8" fmla="*/ 1216025 w 1421813"/>
                  <a:gd name="connsiteY8" fmla="*/ 373985 h 411383"/>
                  <a:gd name="connsiteX9" fmla="*/ 1197317 w 1421813"/>
                  <a:gd name="connsiteY9" fmla="*/ 392684 h 411383"/>
                  <a:gd name="connsiteX10" fmla="*/ 1184845 w 1421813"/>
                  <a:gd name="connsiteY10" fmla="*/ 392684 h 411383"/>
                  <a:gd name="connsiteX11" fmla="*/ 1295223 w 1421813"/>
                  <a:gd name="connsiteY11" fmla="*/ 255245 h 411383"/>
                  <a:gd name="connsiteX12" fmla="*/ 1309566 w 1421813"/>
                  <a:gd name="connsiteY12" fmla="*/ 214356 h 411383"/>
                  <a:gd name="connsiteX13" fmla="*/ 1309566 w 1421813"/>
                  <a:gd name="connsiteY13" fmla="*/ 186992 h 411383"/>
                  <a:gd name="connsiteX14" fmla="*/ 1290857 w 1421813"/>
                  <a:gd name="connsiteY14" fmla="*/ 168293 h 411383"/>
                  <a:gd name="connsiteX15" fmla="*/ 1196195 w 1421813"/>
                  <a:gd name="connsiteY15" fmla="*/ 168293 h 411383"/>
                  <a:gd name="connsiteX16" fmla="*/ 1145122 w 1421813"/>
                  <a:gd name="connsiteY16" fmla="*/ 192914 h 411383"/>
                  <a:gd name="connsiteX17" fmla="*/ 1134832 w 1421813"/>
                  <a:gd name="connsiteY17" fmla="*/ 205754 h 411383"/>
                  <a:gd name="connsiteX18" fmla="*/ 1065238 w 1421813"/>
                  <a:gd name="connsiteY18" fmla="*/ 205754 h 411383"/>
                  <a:gd name="connsiteX19" fmla="*/ 1047652 w 1421813"/>
                  <a:gd name="connsiteY19" fmla="*/ 208434 h 411383"/>
                  <a:gd name="connsiteX20" fmla="*/ 1047652 w 1421813"/>
                  <a:gd name="connsiteY20" fmla="*/ 18699 h 411383"/>
                  <a:gd name="connsiteX21" fmla="*/ 1028944 w 1421813"/>
                  <a:gd name="connsiteY21" fmla="*/ 0 h 411383"/>
                  <a:gd name="connsiteX22" fmla="*/ 823155 w 1421813"/>
                  <a:gd name="connsiteY22" fmla="*/ 0 h 411383"/>
                  <a:gd name="connsiteX23" fmla="*/ 804447 w 1421813"/>
                  <a:gd name="connsiteY23" fmla="*/ 18699 h 411383"/>
                  <a:gd name="connsiteX24" fmla="*/ 804447 w 1421813"/>
                  <a:gd name="connsiteY24" fmla="*/ 121545 h 411383"/>
                  <a:gd name="connsiteX25" fmla="*/ 598659 w 1421813"/>
                  <a:gd name="connsiteY25" fmla="*/ 121545 h 411383"/>
                  <a:gd name="connsiteX26" fmla="*/ 579950 w 1421813"/>
                  <a:gd name="connsiteY26" fmla="*/ 140244 h 411383"/>
                  <a:gd name="connsiteX27" fmla="*/ 579950 w 1421813"/>
                  <a:gd name="connsiteY27" fmla="*/ 243090 h 411383"/>
                  <a:gd name="connsiteX28" fmla="*/ 458348 w 1421813"/>
                  <a:gd name="connsiteY28" fmla="*/ 243090 h 411383"/>
                  <a:gd name="connsiteX29" fmla="*/ 458348 w 1421813"/>
                  <a:gd name="connsiteY29" fmla="*/ 112195 h 411383"/>
                  <a:gd name="connsiteX30" fmla="*/ 420932 w 1421813"/>
                  <a:gd name="connsiteY30" fmla="*/ 74797 h 411383"/>
                  <a:gd name="connsiteX31" fmla="*/ 392870 w 1421813"/>
                  <a:gd name="connsiteY31" fmla="*/ 74797 h 411383"/>
                  <a:gd name="connsiteX32" fmla="*/ 392870 w 1421813"/>
                  <a:gd name="connsiteY32" fmla="*/ 18699 h 411383"/>
                  <a:gd name="connsiteX33" fmla="*/ 374162 w 1421813"/>
                  <a:gd name="connsiteY33" fmla="*/ 0 h 411383"/>
                  <a:gd name="connsiteX34" fmla="*/ 280621 w 1421813"/>
                  <a:gd name="connsiteY34" fmla="*/ 0 h 411383"/>
                  <a:gd name="connsiteX35" fmla="*/ 261913 w 1421813"/>
                  <a:gd name="connsiteY35" fmla="*/ 18699 h 411383"/>
                  <a:gd name="connsiteX36" fmla="*/ 261913 w 1421813"/>
                  <a:gd name="connsiteY36" fmla="*/ 74797 h 411383"/>
                  <a:gd name="connsiteX37" fmla="*/ 243205 w 1421813"/>
                  <a:gd name="connsiteY37" fmla="*/ 74797 h 411383"/>
                  <a:gd name="connsiteX38" fmla="*/ 205789 w 1421813"/>
                  <a:gd name="connsiteY38" fmla="*/ 112195 h 411383"/>
                  <a:gd name="connsiteX39" fmla="*/ 205789 w 1421813"/>
                  <a:gd name="connsiteY39" fmla="*/ 243090 h 411383"/>
                  <a:gd name="connsiteX40" fmla="*/ 159019 w 1421813"/>
                  <a:gd name="connsiteY40" fmla="*/ 243090 h 411383"/>
                  <a:gd name="connsiteX41" fmla="*/ 140311 w 1421813"/>
                  <a:gd name="connsiteY41" fmla="*/ 261789 h 411383"/>
                  <a:gd name="connsiteX42" fmla="*/ 140311 w 1421813"/>
                  <a:gd name="connsiteY42" fmla="*/ 392684 h 411383"/>
                  <a:gd name="connsiteX43" fmla="*/ 130957 w 1421813"/>
                  <a:gd name="connsiteY43" fmla="*/ 392684 h 411383"/>
                  <a:gd name="connsiteX44" fmla="*/ 112248 w 1421813"/>
                  <a:gd name="connsiteY44" fmla="*/ 373985 h 411383"/>
                  <a:gd name="connsiteX45" fmla="*/ 93540 w 1421813"/>
                  <a:gd name="connsiteY45" fmla="*/ 373985 h 411383"/>
                  <a:gd name="connsiteX46" fmla="*/ 74832 w 1421813"/>
                  <a:gd name="connsiteY46" fmla="*/ 392684 h 411383"/>
                  <a:gd name="connsiteX47" fmla="*/ 37416 w 1421813"/>
                  <a:gd name="connsiteY47" fmla="*/ 392684 h 411383"/>
                  <a:gd name="connsiteX48" fmla="*/ 18708 w 1421813"/>
                  <a:gd name="connsiteY48" fmla="*/ 373985 h 411383"/>
                  <a:gd name="connsiteX49" fmla="*/ 0 w 1421813"/>
                  <a:gd name="connsiteY49" fmla="*/ 373985 h 411383"/>
                  <a:gd name="connsiteX50" fmla="*/ 37416 w 1421813"/>
                  <a:gd name="connsiteY50" fmla="*/ 411383 h 411383"/>
                  <a:gd name="connsiteX51" fmla="*/ 74832 w 1421813"/>
                  <a:gd name="connsiteY51" fmla="*/ 411383 h 411383"/>
                  <a:gd name="connsiteX52" fmla="*/ 102894 w 1421813"/>
                  <a:gd name="connsiteY52" fmla="*/ 398481 h 411383"/>
                  <a:gd name="connsiteX53" fmla="*/ 130957 w 1421813"/>
                  <a:gd name="connsiteY53" fmla="*/ 411383 h 411383"/>
                  <a:gd name="connsiteX54" fmla="*/ 168373 w 1421813"/>
                  <a:gd name="connsiteY54" fmla="*/ 411383 h 411383"/>
                  <a:gd name="connsiteX55" fmla="*/ 196435 w 1421813"/>
                  <a:gd name="connsiteY55" fmla="*/ 398481 h 411383"/>
                  <a:gd name="connsiteX56" fmla="*/ 224497 w 1421813"/>
                  <a:gd name="connsiteY56" fmla="*/ 411383 h 411383"/>
                  <a:gd name="connsiteX57" fmla="*/ 261913 w 1421813"/>
                  <a:gd name="connsiteY57" fmla="*/ 411383 h 411383"/>
                  <a:gd name="connsiteX58" fmla="*/ 289975 w 1421813"/>
                  <a:gd name="connsiteY58" fmla="*/ 398481 h 411383"/>
                  <a:gd name="connsiteX59" fmla="*/ 318037 w 1421813"/>
                  <a:gd name="connsiteY59" fmla="*/ 411383 h 411383"/>
                  <a:gd name="connsiteX60" fmla="*/ 355453 w 1421813"/>
                  <a:gd name="connsiteY60" fmla="*/ 411383 h 411383"/>
                  <a:gd name="connsiteX61" fmla="*/ 383516 w 1421813"/>
                  <a:gd name="connsiteY61" fmla="*/ 398481 h 411383"/>
                  <a:gd name="connsiteX62" fmla="*/ 411578 w 1421813"/>
                  <a:gd name="connsiteY62" fmla="*/ 411383 h 411383"/>
                  <a:gd name="connsiteX63" fmla="*/ 448994 w 1421813"/>
                  <a:gd name="connsiteY63" fmla="*/ 411383 h 411383"/>
                  <a:gd name="connsiteX64" fmla="*/ 477056 w 1421813"/>
                  <a:gd name="connsiteY64" fmla="*/ 398481 h 411383"/>
                  <a:gd name="connsiteX65" fmla="*/ 505118 w 1421813"/>
                  <a:gd name="connsiteY65" fmla="*/ 411383 h 411383"/>
                  <a:gd name="connsiteX66" fmla="*/ 542534 w 1421813"/>
                  <a:gd name="connsiteY66" fmla="*/ 411383 h 411383"/>
                  <a:gd name="connsiteX67" fmla="*/ 570596 w 1421813"/>
                  <a:gd name="connsiteY67" fmla="*/ 398481 h 411383"/>
                  <a:gd name="connsiteX68" fmla="*/ 598659 w 1421813"/>
                  <a:gd name="connsiteY68" fmla="*/ 411383 h 411383"/>
                  <a:gd name="connsiteX69" fmla="*/ 636075 w 1421813"/>
                  <a:gd name="connsiteY69" fmla="*/ 411383 h 411383"/>
                  <a:gd name="connsiteX70" fmla="*/ 664137 w 1421813"/>
                  <a:gd name="connsiteY70" fmla="*/ 398481 h 411383"/>
                  <a:gd name="connsiteX71" fmla="*/ 692199 w 1421813"/>
                  <a:gd name="connsiteY71" fmla="*/ 411383 h 411383"/>
                  <a:gd name="connsiteX72" fmla="*/ 729615 w 1421813"/>
                  <a:gd name="connsiteY72" fmla="*/ 411383 h 411383"/>
                  <a:gd name="connsiteX73" fmla="*/ 757677 w 1421813"/>
                  <a:gd name="connsiteY73" fmla="*/ 398481 h 411383"/>
                  <a:gd name="connsiteX74" fmla="*/ 785739 w 1421813"/>
                  <a:gd name="connsiteY74" fmla="*/ 411383 h 411383"/>
                  <a:gd name="connsiteX75" fmla="*/ 823155 w 1421813"/>
                  <a:gd name="connsiteY75" fmla="*/ 411383 h 411383"/>
                  <a:gd name="connsiteX76" fmla="*/ 851218 w 1421813"/>
                  <a:gd name="connsiteY76" fmla="*/ 398481 h 411383"/>
                  <a:gd name="connsiteX77" fmla="*/ 879280 w 1421813"/>
                  <a:gd name="connsiteY77" fmla="*/ 411383 h 411383"/>
                  <a:gd name="connsiteX78" fmla="*/ 916696 w 1421813"/>
                  <a:gd name="connsiteY78" fmla="*/ 411383 h 411383"/>
                  <a:gd name="connsiteX79" fmla="*/ 944758 w 1421813"/>
                  <a:gd name="connsiteY79" fmla="*/ 398481 h 411383"/>
                  <a:gd name="connsiteX80" fmla="*/ 972820 w 1421813"/>
                  <a:gd name="connsiteY80" fmla="*/ 411383 h 411383"/>
                  <a:gd name="connsiteX81" fmla="*/ 1010236 w 1421813"/>
                  <a:gd name="connsiteY81" fmla="*/ 411383 h 411383"/>
                  <a:gd name="connsiteX82" fmla="*/ 1038298 w 1421813"/>
                  <a:gd name="connsiteY82" fmla="*/ 398481 h 411383"/>
                  <a:gd name="connsiteX83" fmla="*/ 1066361 w 1421813"/>
                  <a:gd name="connsiteY83" fmla="*/ 411383 h 411383"/>
                  <a:gd name="connsiteX84" fmla="*/ 1103777 w 1421813"/>
                  <a:gd name="connsiteY84" fmla="*/ 411383 h 411383"/>
                  <a:gd name="connsiteX85" fmla="*/ 1131839 w 1421813"/>
                  <a:gd name="connsiteY85" fmla="*/ 398481 h 411383"/>
                  <a:gd name="connsiteX86" fmla="*/ 1159901 w 1421813"/>
                  <a:gd name="connsiteY86" fmla="*/ 411383 h 411383"/>
                  <a:gd name="connsiteX87" fmla="*/ 1197317 w 1421813"/>
                  <a:gd name="connsiteY87" fmla="*/ 411383 h 411383"/>
                  <a:gd name="connsiteX88" fmla="*/ 1225379 w 1421813"/>
                  <a:gd name="connsiteY88" fmla="*/ 398481 h 411383"/>
                  <a:gd name="connsiteX89" fmla="*/ 1253441 w 1421813"/>
                  <a:gd name="connsiteY89" fmla="*/ 411383 h 411383"/>
                  <a:gd name="connsiteX90" fmla="*/ 1290857 w 1421813"/>
                  <a:gd name="connsiteY90" fmla="*/ 411383 h 411383"/>
                  <a:gd name="connsiteX91" fmla="*/ 1318920 w 1421813"/>
                  <a:gd name="connsiteY91" fmla="*/ 398481 h 411383"/>
                  <a:gd name="connsiteX92" fmla="*/ 1346982 w 1421813"/>
                  <a:gd name="connsiteY92" fmla="*/ 411383 h 411383"/>
                  <a:gd name="connsiteX93" fmla="*/ 1384398 w 1421813"/>
                  <a:gd name="connsiteY93" fmla="*/ 411383 h 411383"/>
                  <a:gd name="connsiteX94" fmla="*/ 1421814 w 1421813"/>
                  <a:gd name="connsiteY94" fmla="*/ 373985 h 411383"/>
                  <a:gd name="connsiteX95" fmla="*/ 1014165 w 1421813"/>
                  <a:gd name="connsiteY95" fmla="*/ 230312 h 411383"/>
                  <a:gd name="connsiteX96" fmla="*/ 1003876 w 1421813"/>
                  <a:gd name="connsiteY96" fmla="*/ 243153 h 411383"/>
                  <a:gd name="connsiteX97" fmla="*/ 823031 w 1421813"/>
                  <a:gd name="connsiteY97" fmla="*/ 243153 h 411383"/>
                  <a:gd name="connsiteX98" fmla="*/ 823031 w 1421813"/>
                  <a:gd name="connsiteY98" fmla="*/ 140244 h 411383"/>
                  <a:gd name="connsiteX99" fmla="*/ 1028820 w 1421813"/>
                  <a:gd name="connsiteY99" fmla="*/ 140244 h 411383"/>
                  <a:gd name="connsiteX100" fmla="*/ 1028820 w 1421813"/>
                  <a:gd name="connsiteY100" fmla="*/ 217098 h 411383"/>
                  <a:gd name="connsiteX101" fmla="*/ 1014165 w 1421813"/>
                  <a:gd name="connsiteY101" fmla="*/ 230312 h 411383"/>
                  <a:gd name="connsiteX102" fmla="*/ 823155 w 1421813"/>
                  <a:gd name="connsiteY102" fmla="*/ 18699 h 411383"/>
                  <a:gd name="connsiteX103" fmla="*/ 1028944 w 1421813"/>
                  <a:gd name="connsiteY103" fmla="*/ 18699 h 411383"/>
                  <a:gd name="connsiteX104" fmla="*/ 1028944 w 1421813"/>
                  <a:gd name="connsiteY104" fmla="*/ 121545 h 411383"/>
                  <a:gd name="connsiteX105" fmla="*/ 823155 w 1421813"/>
                  <a:gd name="connsiteY105" fmla="*/ 121545 h 411383"/>
                  <a:gd name="connsiteX106" fmla="*/ 598659 w 1421813"/>
                  <a:gd name="connsiteY106" fmla="*/ 140244 h 411383"/>
                  <a:gd name="connsiteX107" fmla="*/ 804447 w 1421813"/>
                  <a:gd name="connsiteY107" fmla="*/ 140244 h 411383"/>
                  <a:gd name="connsiteX108" fmla="*/ 804447 w 1421813"/>
                  <a:gd name="connsiteY108" fmla="*/ 243090 h 411383"/>
                  <a:gd name="connsiteX109" fmla="*/ 598659 w 1421813"/>
                  <a:gd name="connsiteY109" fmla="*/ 243090 h 411383"/>
                  <a:gd name="connsiteX110" fmla="*/ 280621 w 1421813"/>
                  <a:gd name="connsiteY110" fmla="*/ 18699 h 411383"/>
                  <a:gd name="connsiteX111" fmla="*/ 374162 w 1421813"/>
                  <a:gd name="connsiteY111" fmla="*/ 18699 h 411383"/>
                  <a:gd name="connsiteX112" fmla="*/ 374162 w 1421813"/>
                  <a:gd name="connsiteY112" fmla="*/ 74797 h 411383"/>
                  <a:gd name="connsiteX113" fmla="*/ 280621 w 1421813"/>
                  <a:gd name="connsiteY113" fmla="*/ 74797 h 411383"/>
                  <a:gd name="connsiteX114" fmla="*/ 224497 w 1421813"/>
                  <a:gd name="connsiteY114" fmla="*/ 112195 h 411383"/>
                  <a:gd name="connsiteX115" fmla="*/ 243205 w 1421813"/>
                  <a:gd name="connsiteY115" fmla="*/ 93496 h 411383"/>
                  <a:gd name="connsiteX116" fmla="*/ 420932 w 1421813"/>
                  <a:gd name="connsiteY116" fmla="*/ 93496 h 411383"/>
                  <a:gd name="connsiteX117" fmla="*/ 439640 w 1421813"/>
                  <a:gd name="connsiteY117" fmla="*/ 112195 h 411383"/>
                  <a:gd name="connsiteX118" fmla="*/ 439640 w 1421813"/>
                  <a:gd name="connsiteY118" fmla="*/ 243090 h 411383"/>
                  <a:gd name="connsiteX119" fmla="*/ 224497 w 1421813"/>
                  <a:gd name="connsiteY119" fmla="*/ 243090 h 411383"/>
                  <a:gd name="connsiteX120" fmla="*/ 1004000 w 1421813"/>
                  <a:gd name="connsiteY120" fmla="*/ 261789 h 411383"/>
                  <a:gd name="connsiteX121" fmla="*/ 1018593 w 1421813"/>
                  <a:gd name="connsiteY121" fmla="*/ 254746 h 411383"/>
                  <a:gd name="connsiteX122" fmla="*/ 1028882 w 1421813"/>
                  <a:gd name="connsiteY122" fmla="*/ 241968 h 411383"/>
                  <a:gd name="connsiteX123" fmla="*/ 1065363 w 1421813"/>
                  <a:gd name="connsiteY123" fmla="*/ 224391 h 411383"/>
                  <a:gd name="connsiteX124" fmla="*/ 1134957 w 1421813"/>
                  <a:gd name="connsiteY124" fmla="*/ 224391 h 411383"/>
                  <a:gd name="connsiteX125" fmla="*/ 1149549 w 1421813"/>
                  <a:gd name="connsiteY125" fmla="*/ 217348 h 411383"/>
                  <a:gd name="connsiteX126" fmla="*/ 1159838 w 1421813"/>
                  <a:gd name="connsiteY126" fmla="*/ 204570 h 411383"/>
                  <a:gd name="connsiteX127" fmla="*/ 1196319 w 1421813"/>
                  <a:gd name="connsiteY127" fmla="*/ 186992 h 411383"/>
                  <a:gd name="connsiteX128" fmla="*/ 1290982 w 1421813"/>
                  <a:gd name="connsiteY128" fmla="*/ 186992 h 411383"/>
                  <a:gd name="connsiteX129" fmla="*/ 1290982 w 1421813"/>
                  <a:gd name="connsiteY129" fmla="*/ 214044 h 411383"/>
                  <a:gd name="connsiteX130" fmla="*/ 1280755 w 1421813"/>
                  <a:gd name="connsiteY130" fmla="*/ 243277 h 411383"/>
                  <a:gd name="connsiteX131" fmla="*/ 1221014 w 1421813"/>
                  <a:gd name="connsiteY131" fmla="*/ 318074 h 411383"/>
                  <a:gd name="connsiteX132" fmla="*/ 159019 w 1421813"/>
                  <a:gd name="connsiteY132" fmla="*/ 318074 h 411383"/>
                  <a:gd name="connsiteX133" fmla="*/ 159019 w 1421813"/>
                  <a:gd name="connsiteY133" fmla="*/ 261976 h 411383"/>
                  <a:gd name="connsiteX134" fmla="*/ 1141193 w 1421813"/>
                  <a:gd name="connsiteY134" fmla="*/ 373985 h 411383"/>
                  <a:gd name="connsiteX135" fmla="*/ 1122485 w 1421813"/>
                  <a:gd name="connsiteY135" fmla="*/ 373985 h 411383"/>
                  <a:gd name="connsiteX136" fmla="*/ 1103777 w 1421813"/>
                  <a:gd name="connsiteY136" fmla="*/ 392684 h 411383"/>
                  <a:gd name="connsiteX137" fmla="*/ 1066361 w 1421813"/>
                  <a:gd name="connsiteY137" fmla="*/ 392684 h 411383"/>
                  <a:gd name="connsiteX138" fmla="*/ 1047652 w 1421813"/>
                  <a:gd name="connsiteY138" fmla="*/ 373985 h 411383"/>
                  <a:gd name="connsiteX139" fmla="*/ 1028944 w 1421813"/>
                  <a:gd name="connsiteY139" fmla="*/ 373985 h 411383"/>
                  <a:gd name="connsiteX140" fmla="*/ 1010236 w 1421813"/>
                  <a:gd name="connsiteY140" fmla="*/ 392684 h 411383"/>
                  <a:gd name="connsiteX141" fmla="*/ 972820 w 1421813"/>
                  <a:gd name="connsiteY141" fmla="*/ 392684 h 411383"/>
                  <a:gd name="connsiteX142" fmla="*/ 954112 w 1421813"/>
                  <a:gd name="connsiteY142" fmla="*/ 373985 h 411383"/>
                  <a:gd name="connsiteX143" fmla="*/ 935404 w 1421813"/>
                  <a:gd name="connsiteY143" fmla="*/ 373985 h 411383"/>
                  <a:gd name="connsiteX144" fmla="*/ 916696 w 1421813"/>
                  <a:gd name="connsiteY144" fmla="*/ 392684 h 411383"/>
                  <a:gd name="connsiteX145" fmla="*/ 879280 w 1421813"/>
                  <a:gd name="connsiteY145" fmla="*/ 392684 h 411383"/>
                  <a:gd name="connsiteX146" fmla="*/ 860572 w 1421813"/>
                  <a:gd name="connsiteY146" fmla="*/ 373985 h 411383"/>
                  <a:gd name="connsiteX147" fmla="*/ 841864 w 1421813"/>
                  <a:gd name="connsiteY147" fmla="*/ 373985 h 411383"/>
                  <a:gd name="connsiteX148" fmla="*/ 823155 w 1421813"/>
                  <a:gd name="connsiteY148" fmla="*/ 392684 h 411383"/>
                  <a:gd name="connsiteX149" fmla="*/ 785739 w 1421813"/>
                  <a:gd name="connsiteY149" fmla="*/ 392684 h 411383"/>
                  <a:gd name="connsiteX150" fmla="*/ 767031 w 1421813"/>
                  <a:gd name="connsiteY150" fmla="*/ 373985 h 411383"/>
                  <a:gd name="connsiteX151" fmla="*/ 748323 w 1421813"/>
                  <a:gd name="connsiteY151" fmla="*/ 373985 h 411383"/>
                  <a:gd name="connsiteX152" fmla="*/ 729615 w 1421813"/>
                  <a:gd name="connsiteY152" fmla="*/ 392684 h 411383"/>
                  <a:gd name="connsiteX153" fmla="*/ 692199 w 1421813"/>
                  <a:gd name="connsiteY153" fmla="*/ 392684 h 411383"/>
                  <a:gd name="connsiteX154" fmla="*/ 673491 w 1421813"/>
                  <a:gd name="connsiteY154" fmla="*/ 373985 h 411383"/>
                  <a:gd name="connsiteX155" fmla="*/ 654783 w 1421813"/>
                  <a:gd name="connsiteY155" fmla="*/ 373985 h 411383"/>
                  <a:gd name="connsiteX156" fmla="*/ 636075 w 1421813"/>
                  <a:gd name="connsiteY156" fmla="*/ 392684 h 411383"/>
                  <a:gd name="connsiteX157" fmla="*/ 598659 w 1421813"/>
                  <a:gd name="connsiteY157" fmla="*/ 392684 h 411383"/>
                  <a:gd name="connsiteX158" fmla="*/ 579950 w 1421813"/>
                  <a:gd name="connsiteY158" fmla="*/ 373985 h 411383"/>
                  <a:gd name="connsiteX159" fmla="*/ 561242 w 1421813"/>
                  <a:gd name="connsiteY159" fmla="*/ 373985 h 411383"/>
                  <a:gd name="connsiteX160" fmla="*/ 542534 w 1421813"/>
                  <a:gd name="connsiteY160" fmla="*/ 392684 h 411383"/>
                  <a:gd name="connsiteX161" fmla="*/ 505118 w 1421813"/>
                  <a:gd name="connsiteY161" fmla="*/ 392684 h 411383"/>
                  <a:gd name="connsiteX162" fmla="*/ 486410 w 1421813"/>
                  <a:gd name="connsiteY162" fmla="*/ 373985 h 411383"/>
                  <a:gd name="connsiteX163" fmla="*/ 467702 w 1421813"/>
                  <a:gd name="connsiteY163" fmla="*/ 373985 h 411383"/>
                  <a:gd name="connsiteX164" fmla="*/ 448994 w 1421813"/>
                  <a:gd name="connsiteY164" fmla="*/ 392684 h 411383"/>
                  <a:gd name="connsiteX165" fmla="*/ 411578 w 1421813"/>
                  <a:gd name="connsiteY165" fmla="*/ 392684 h 411383"/>
                  <a:gd name="connsiteX166" fmla="*/ 392870 w 1421813"/>
                  <a:gd name="connsiteY166" fmla="*/ 373985 h 411383"/>
                  <a:gd name="connsiteX167" fmla="*/ 374162 w 1421813"/>
                  <a:gd name="connsiteY167" fmla="*/ 373985 h 411383"/>
                  <a:gd name="connsiteX168" fmla="*/ 355453 w 1421813"/>
                  <a:gd name="connsiteY168" fmla="*/ 392684 h 411383"/>
                  <a:gd name="connsiteX169" fmla="*/ 318037 w 1421813"/>
                  <a:gd name="connsiteY169" fmla="*/ 392684 h 411383"/>
                  <a:gd name="connsiteX170" fmla="*/ 299329 w 1421813"/>
                  <a:gd name="connsiteY170" fmla="*/ 373985 h 411383"/>
                  <a:gd name="connsiteX171" fmla="*/ 280621 w 1421813"/>
                  <a:gd name="connsiteY171" fmla="*/ 373985 h 411383"/>
                  <a:gd name="connsiteX172" fmla="*/ 261913 w 1421813"/>
                  <a:gd name="connsiteY172" fmla="*/ 392684 h 411383"/>
                  <a:gd name="connsiteX173" fmla="*/ 224497 w 1421813"/>
                  <a:gd name="connsiteY173" fmla="*/ 392684 h 411383"/>
                  <a:gd name="connsiteX174" fmla="*/ 205789 w 1421813"/>
                  <a:gd name="connsiteY174" fmla="*/ 373985 h 411383"/>
                  <a:gd name="connsiteX175" fmla="*/ 187081 w 1421813"/>
                  <a:gd name="connsiteY175" fmla="*/ 373985 h 411383"/>
                  <a:gd name="connsiteX176" fmla="*/ 168373 w 1421813"/>
                  <a:gd name="connsiteY176" fmla="*/ 392684 h 411383"/>
                  <a:gd name="connsiteX177" fmla="*/ 159019 w 1421813"/>
                  <a:gd name="connsiteY177" fmla="*/ 392684 h 411383"/>
                  <a:gd name="connsiteX178" fmla="*/ 159019 w 1421813"/>
                  <a:gd name="connsiteY178" fmla="*/ 336586 h 411383"/>
                  <a:gd name="connsiteX179" fmla="*/ 1205923 w 1421813"/>
                  <a:gd name="connsiteY179" fmla="*/ 336586 h 411383"/>
                  <a:gd name="connsiteX180" fmla="*/ 1161023 w 1421813"/>
                  <a:gd name="connsiteY180" fmla="*/ 392684 h 411383"/>
                  <a:gd name="connsiteX181" fmla="*/ 1159901 w 1421813"/>
                  <a:gd name="connsiteY181" fmla="*/ 392684 h 411383"/>
                  <a:gd name="connsiteX182" fmla="*/ 1141193 w 1421813"/>
                  <a:gd name="connsiteY182" fmla="*/ 373985 h 411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421813" h="411383">
                    <a:moveTo>
                      <a:pt x="1403106" y="373985"/>
                    </a:moveTo>
                    <a:cubicBezTo>
                      <a:pt x="1403106" y="384313"/>
                      <a:pt x="1394731" y="392684"/>
                      <a:pt x="1384398" y="392684"/>
                    </a:cubicBezTo>
                    <a:lnTo>
                      <a:pt x="1346982" y="392684"/>
                    </a:lnTo>
                    <a:cubicBezTo>
                      <a:pt x="1336649" y="392684"/>
                      <a:pt x="1328274" y="384313"/>
                      <a:pt x="1328274" y="373985"/>
                    </a:cubicBezTo>
                    <a:lnTo>
                      <a:pt x="1309566" y="373985"/>
                    </a:lnTo>
                    <a:cubicBezTo>
                      <a:pt x="1309566" y="384313"/>
                      <a:pt x="1301191" y="392684"/>
                      <a:pt x="1290857" y="392684"/>
                    </a:cubicBezTo>
                    <a:lnTo>
                      <a:pt x="1253441" y="392684"/>
                    </a:lnTo>
                    <a:cubicBezTo>
                      <a:pt x="1243108" y="392684"/>
                      <a:pt x="1234733" y="384313"/>
                      <a:pt x="1234733" y="373985"/>
                    </a:cubicBezTo>
                    <a:lnTo>
                      <a:pt x="1216025" y="373985"/>
                    </a:lnTo>
                    <a:cubicBezTo>
                      <a:pt x="1216025" y="384313"/>
                      <a:pt x="1207650" y="392684"/>
                      <a:pt x="1197317" y="392684"/>
                    </a:cubicBezTo>
                    <a:lnTo>
                      <a:pt x="1184845" y="392684"/>
                    </a:lnTo>
                    <a:lnTo>
                      <a:pt x="1295223" y="255245"/>
                    </a:lnTo>
                    <a:cubicBezTo>
                      <a:pt x="1304521" y="243643"/>
                      <a:pt x="1309578" y="229220"/>
                      <a:pt x="1309566" y="214356"/>
                    </a:cubicBezTo>
                    <a:lnTo>
                      <a:pt x="1309566" y="186992"/>
                    </a:lnTo>
                    <a:cubicBezTo>
                      <a:pt x="1309566" y="176665"/>
                      <a:pt x="1301191" y="168293"/>
                      <a:pt x="1290857" y="168293"/>
                    </a:cubicBezTo>
                    <a:lnTo>
                      <a:pt x="1196195" y="168293"/>
                    </a:lnTo>
                    <a:cubicBezTo>
                      <a:pt x="1176295" y="168233"/>
                      <a:pt x="1157463" y="177309"/>
                      <a:pt x="1145122" y="192914"/>
                    </a:cubicBezTo>
                    <a:lnTo>
                      <a:pt x="1134832" y="205754"/>
                    </a:lnTo>
                    <a:lnTo>
                      <a:pt x="1065238" y="205754"/>
                    </a:lnTo>
                    <a:cubicBezTo>
                      <a:pt x="1059283" y="205838"/>
                      <a:pt x="1053365" y="206740"/>
                      <a:pt x="1047652" y="208434"/>
                    </a:cubicBezTo>
                    <a:lnTo>
                      <a:pt x="1047652" y="18699"/>
                    </a:lnTo>
                    <a:cubicBezTo>
                      <a:pt x="1047652" y="8372"/>
                      <a:pt x="1039278" y="0"/>
                      <a:pt x="1028944" y="0"/>
                    </a:cubicBezTo>
                    <a:lnTo>
                      <a:pt x="823155" y="0"/>
                    </a:lnTo>
                    <a:cubicBezTo>
                      <a:pt x="812822" y="0"/>
                      <a:pt x="804447" y="8372"/>
                      <a:pt x="804447" y="18699"/>
                    </a:cubicBezTo>
                    <a:lnTo>
                      <a:pt x="804447" y="121545"/>
                    </a:lnTo>
                    <a:lnTo>
                      <a:pt x="598659" y="121545"/>
                    </a:lnTo>
                    <a:cubicBezTo>
                      <a:pt x="588325" y="121545"/>
                      <a:pt x="579950" y="129917"/>
                      <a:pt x="579950" y="140244"/>
                    </a:cubicBezTo>
                    <a:lnTo>
                      <a:pt x="579950" y="243090"/>
                    </a:lnTo>
                    <a:lnTo>
                      <a:pt x="458348" y="243090"/>
                    </a:lnTo>
                    <a:lnTo>
                      <a:pt x="458348" y="112195"/>
                    </a:lnTo>
                    <a:cubicBezTo>
                      <a:pt x="458348" y="91541"/>
                      <a:pt x="441598" y="74797"/>
                      <a:pt x="420932" y="74797"/>
                    </a:cubicBezTo>
                    <a:lnTo>
                      <a:pt x="392870" y="74797"/>
                    </a:lnTo>
                    <a:lnTo>
                      <a:pt x="392870" y="18699"/>
                    </a:lnTo>
                    <a:cubicBezTo>
                      <a:pt x="392870" y="8372"/>
                      <a:pt x="384495" y="0"/>
                      <a:pt x="374162" y="0"/>
                    </a:cubicBezTo>
                    <a:lnTo>
                      <a:pt x="280621" y="0"/>
                    </a:lnTo>
                    <a:cubicBezTo>
                      <a:pt x="270288" y="0"/>
                      <a:pt x="261913" y="8372"/>
                      <a:pt x="261913" y="18699"/>
                    </a:cubicBezTo>
                    <a:lnTo>
                      <a:pt x="261913" y="74797"/>
                    </a:lnTo>
                    <a:lnTo>
                      <a:pt x="243205" y="74797"/>
                    </a:lnTo>
                    <a:cubicBezTo>
                      <a:pt x="222539" y="74797"/>
                      <a:pt x="205789" y="91541"/>
                      <a:pt x="205789" y="112195"/>
                    </a:cubicBezTo>
                    <a:lnTo>
                      <a:pt x="205789" y="243090"/>
                    </a:lnTo>
                    <a:lnTo>
                      <a:pt x="159019" y="243090"/>
                    </a:lnTo>
                    <a:cubicBezTo>
                      <a:pt x="148686" y="243090"/>
                      <a:pt x="140311" y="251462"/>
                      <a:pt x="140311" y="261789"/>
                    </a:cubicBezTo>
                    <a:lnTo>
                      <a:pt x="140311" y="392684"/>
                    </a:lnTo>
                    <a:lnTo>
                      <a:pt x="130957" y="392684"/>
                    </a:lnTo>
                    <a:cubicBezTo>
                      <a:pt x="120623" y="392684"/>
                      <a:pt x="112248" y="384313"/>
                      <a:pt x="112248" y="373985"/>
                    </a:cubicBezTo>
                    <a:lnTo>
                      <a:pt x="93540" y="373985"/>
                    </a:lnTo>
                    <a:cubicBezTo>
                      <a:pt x="93540" y="384313"/>
                      <a:pt x="85165" y="392684"/>
                      <a:pt x="74832" y="392684"/>
                    </a:cubicBezTo>
                    <a:lnTo>
                      <a:pt x="37416" y="392684"/>
                    </a:lnTo>
                    <a:cubicBezTo>
                      <a:pt x="27083" y="392684"/>
                      <a:pt x="18708" y="384313"/>
                      <a:pt x="18708" y="373985"/>
                    </a:cubicBezTo>
                    <a:lnTo>
                      <a:pt x="0" y="373985"/>
                    </a:lnTo>
                    <a:cubicBezTo>
                      <a:pt x="0" y="394640"/>
                      <a:pt x="16750" y="411383"/>
                      <a:pt x="37416" y="411383"/>
                    </a:cubicBezTo>
                    <a:lnTo>
                      <a:pt x="74832" y="411383"/>
                    </a:lnTo>
                    <a:cubicBezTo>
                      <a:pt x="85608" y="411323"/>
                      <a:pt x="95835" y="406621"/>
                      <a:pt x="102894" y="398481"/>
                    </a:cubicBezTo>
                    <a:cubicBezTo>
                      <a:pt x="109954" y="406621"/>
                      <a:pt x="120181" y="411323"/>
                      <a:pt x="130957" y="411383"/>
                    </a:cubicBezTo>
                    <a:lnTo>
                      <a:pt x="168373" y="411383"/>
                    </a:lnTo>
                    <a:cubicBezTo>
                      <a:pt x="179149" y="411323"/>
                      <a:pt x="189376" y="406621"/>
                      <a:pt x="196435" y="398481"/>
                    </a:cubicBezTo>
                    <a:cubicBezTo>
                      <a:pt x="203494" y="406621"/>
                      <a:pt x="213721" y="411323"/>
                      <a:pt x="224497" y="411383"/>
                    </a:cubicBezTo>
                    <a:lnTo>
                      <a:pt x="261913" y="411383"/>
                    </a:lnTo>
                    <a:cubicBezTo>
                      <a:pt x="272689" y="411323"/>
                      <a:pt x="282916" y="406621"/>
                      <a:pt x="289975" y="398481"/>
                    </a:cubicBezTo>
                    <a:cubicBezTo>
                      <a:pt x="297034" y="406621"/>
                      <a:pt x="307262" y="411323"/>
                      <a:pt x="318037" y="411383"/>
                    </a:cubicBezTo>
                    <a:lnTo>
                      <a:pt x="355453" y="411383"/>
                    </a:lnTo>
                    <a:cubicBezTo>
                      <a:pt x="366229" y="411323"/>
                      <a:pt x="376456" y="406621"/>
                      <a:pt x="383516" y="398481"/>
                    </a:cubicBezTo>
                    <a:cubicBezTo>
                      <a:pt x="390575" y="406621"/>
                      <a:pt x="400802" y="411323"/>
                      <a:pt x="411578" y="411383"/>
                    </a:cubicBezTo>
                    <a:lnTo>
                      <a:pt x="448994" y="411383"/>
                    </a:lnTo>
                    <a:cubicBezTo>
                      <a:pt x="459770" y="411323"/>
                      <a:pt x="469997" y="406621"/>
                      <a:pt x="477056" y="398481"/>
                    </a:cubicBezTo>
                    <a:cubicBezTo>
                      <a:pt x="484115" y="406621"/>
                      <a:pt x="494342" y="411323"/>
                      <a:pt x="505118" y="411383"/>
                    </a:cubicBezTo>
                    <a:lnTo>
                      <a:pt x="542534" y="411383"/>
                    </a:lnTo>
                    <a:cubicBezTo>
                      <a:pt x="553310" y="411323"/>
                      <a:pt x="563537" y="406621"/>
                      <a:pt x="570596" y="398481"/>
                    </a:cubicBezTo>
                    <a:cubicBezTo>
                      <a:pt x="577656" y="406621"/>
                      <a:pt x="587883" y="411323"/>
                      <a:pt x="598659" y="411383"/>
                    </a:cubicBezTo>
                    <a:lnTo>
                      <a:pt x="636075" y="411383"/>
                    </a:lnTo>
                    <a:cubicBezTo>
                      <a:pt x="646851" y="411323"/>
                      <a:pt x="657078" y="406621"/>
                      <a:pt x="664137" y="398481"/>
                    </a:cubicBezTo>
                    <a:cubicBezTo>
                      <a:pt x="671196" y="406621"/>
                      <a:pt x="681423" y="411323"/>
                      <a:pt x="692199" y="411383"/>
                    </a:cubicBezTo>
                    <a:lnTo>
                      <a:pt x="729615" y="411383"/>
                    </a:lnTo>
                    <a:cubicBezTo>
                      <a:pt x="740391" y="411323"/>
                      <a:pt x="750618" y="406621"/>
                      <a:pt x="757677" y="398481"/>
                    </a:cubicBezTo>
                    <a:cubicBezTo>
                      <a:pt x="764736" y="406621"/>
                      <a:pt x="774963" y="411323"/>
                      <a:pt x="785739" y="411383"/>
                    </a:cubicBezTo>
                    <a:lnTo>
                      <a:pt x="823155" y="411383"/>
                    </a:lnTo>
                    <a:cubicBezTo>
                      <a:pt x="833931" y="411323"/>
                      <a:pt x="844158" y="406621"/>
                      <a:pt x="851218" y="398481"/>
                    </a:cubicBezTo>
                    <a:cubicBezTo>
                      <a:pt x="858277" y="406621"/>
                      <a:pt x="868504" y="411323"/>
                      <a:pt x="879280" y="411383"/>
                    </a:cubicBezTo>
                    <a:lnTo>
                      <a:pt x="916696" y="411383"/>
                    </a:lnTo>
                    <a:cubicBezTo>
                      <a:pt x="927472" y="411323"/>
                      <a:pt x="937699" y="406621"/>
                      <a:pt x="944758" y="398481"/>
                    </a:cubicBezTo>
                    <a:cubicBezTo>
                      <a:pt x="951817" y="406621"/>
                      <a:pt x="962044" y="411323"/>
                      <a:pt x="972820" y="411383"/>
                    </a:cubicBezTo>
                    <a:lnTo>
                      <a:pt x="1010236" y="411383"/>
                    </a:lnTo>
                    <a:cubicBezTo>
                      <a:pt x="1021012" y="411323"/>
                      <a:pt x="1031239" y="406621"/>
                      <a:pt x="1038298" y="398481"/>
                    </a:cubicBezTo>
                    <a:cubicBezTo>
                      <a:pt x="1045357" y="406621"/>
                      <a:pt x="1055585" y="411323"/>
                      <a:pt x="1066361" y="411383"/>
                    </a:cubicBezTo>
                    <a:lnTo>
                      <a:pt x="1103777" y="411383"/>
                    </a:lnTo>
                    <a:cubicBezTo>
                      <a:pt x="1114553" y="411323"/>
                      <a:pt x="1124780" y="406621"/>
                      <a:pt x="1131839" y="398481"/>
                    </a:cubicBezTo>
                    <a:cubicBezTo>
                      <a:pt x="1138898" y="406621"/>
                      <a:pt x="1149125" y="411323"/>
                      <a:pt x="1159901" y="411383"/>
                    </a:cubicBezTo>
                    <a:lnTo>
                      <a:pt x="1197317" y="411383"/>
                    </a:lnTo>
                    <a:cubicBezTo>
                      <a:pt x="1208093" y="411323"/>
                      <a:pt x="1218320" y="406621"/>
                      <a:pt x="1225379" y="398481"/>
                    </a:cubicBezTo>
                    <a:cubicBezTo>
                      <a:pt x="1232438" y="406621"/>
                      <a:pt x="1242665" y="411323"/>
                      <a:pt x="1253441" y="411383"/>
                    </a:cubicBezTo>
                    <a:lnTo>
                      <a:pt x="1290857" y="411383"/>
                    </a:lnTo>
                    <a:cubicBezTo>
                      <a:pt x="1301633" y="411323"/>
                      <a:pt x="1311860" y="406621"/>
                      <a:pt x="1318920" y="398481"/>
                    </a:cubicBezTo>
                    <a:cubicBezTo>
                      <a:pt x="1325979" y="406621"/>
                      <a:pt x="1336206" y="411323"/>
                      <a:pt x="1346982" y="411383"/>
                    </a:cubicBezTo>
                    <a:lnTo>
                      <a:pt x="1384398" y="411383"/>
                    </a:lnTo>
                    <a:cubicBezTo>
                      <a:pt x="1405064" y="411383"/>
                      <a:pt x="1421814" y="394640"/>
                      <a:pt x="1421814" y="373985"/>
                    </a:cubicBezTo>
                    <a:close/>
                    <a:moveTo>
                      <a:pt x="1014165" y="230312"/>
                    </a:moveTo>
                    <a:lnTo>
                      <a:pt x="1003876" y="243153"/>
                    </a:lnTo>
                    <a:lnTo>
                      <a:pt x="823031" y="243153"/>
                    </a:lnTo>
                    <a:lnTo>
                      <a:pt x="823031" y="140244"/>
                    </a:lnTo>
                    <a:lnTo>
                      <a:pt x="1028820" y="140244"/>
                    </a:lnTo>
                    <a:lnTo>
                      <a:pt x="1028820" y="217098"/>
                    </a:lnTo>
                    <a:cubicBezTo>
                      <a:pt x="1023301" y="220743"/>
                      <a:pt x="1018362" y="225198"/>
                      <a:pt x="1014165" y="230312"/>
                    </a:cubicBezTo>
                    <a:close/>
                    <a:moveTo>
                      <a:pt x="823155" y="18699"/>
                    </a:moveTo>
                    <a:lnTo>
                      <a:pt x="1028944" y="18699"/>
                    </a:lnTo>
                    <a:lnTo>
                      <a:pt x="1028944" y="121545"/>
                    </a:lnTo>
                    <a:lnTo>
                      <a:pt x="823155" y="121545"/>
                    </a:lnTo>
                    <a:close/>
                    <a:moveTo>
                      <a:pt x="598659" y="140244"/>
                    </a:moveTo>
                    <a:lnTo>
                      <a:pt x="804447" y="140244"/>
                    </a:lnTo>
                    <a:lnTo>
                      <a:pt x="804447" y="243090"/>
                    </a:lnTo>
                    <a:lnTo>
                      <a:pt x="598659" y="243090"/>
                    </a:lnTo>
                    <a:close/>
                    <a:moveTo>
                      <a:pt x="280621" y="18699"/>
                    </a:moveTo>
                    <a:lnTo>
                      <a:pt x="374162" y="18699"/>
                    </a:lnTo>
                    <a:lnTo>
                      <a:pt x="374162" y="74797"/>
                    </a:lnTo>
                    <a:lnTo>
                      <a:pt x="280621" y="74797"/>
                    </a:lnTo>
                    <a:close/>
                    <a:moveTo>
                      <a:pt x="224497" y="112195"/>
                    </a:moveTo>
                    <a:cubicBezTo>
                      <a:pt x="224497" y="101868"/>
                      <a:pt x="232872" y="93496"/>
                      <a:pt x="243205" y="93496"/>
                    </a:cubicBezTo>
                    <a:lnTo>
                      <a:pt x="420932" y="93496"/>
                    </a:lnTo>
                    <a:cubicBezTo>
                      <a:pt x="431265" y="93496"/>
                      <a:pt x="439640" y="101868"/>
                      <a:pt x="439640" y="112195"/>
                    </a:cubicBezTo>
                    <a:lnTo>
                      <a:pt x="439640" y="243090"/>
                    </a:lnTo>
                    <a:lnTo>
                      <a:pt x="224497" y="243090"/>
                    </a:lnTo>
                    <a:close/>
                    <a:moveTo>
                      <a:pt x="1004000" y="261789"/>
                    </a:moveTo>
                    <a:cubicBezTo>
                      <a:pt x="1009681" y="261778"/>
                      <a:pt x="1015050" y="259187"/>
                      <a:pt x="1018593" y="254746"/>
                    </a:cubicBezTo>
                    <a:lnTo>
                      <a:pt x="1028882" y="241968"/>
                    </a:lnTo>
                    <a:cubicBezTo>
                      <a:pt x="1037694" y="230819"/>
                      <a:pt x="1051145" y="224337"/>
                      <a:pt x="1065363" y="224391"/>
                    </a:cubicBezTo>
                    <a:lnTo>
                      <a:pt x="1134957" y="224391"/>
                    </a:lnTo>
                    <a:cubicBezTo>
                      <a:pt x="1140638" y="224380"/>
                      <a:pt x="1146007" y="221789"/>
                      <a:pt x="1149549" y="217348"/>
                    </a:cubicBezTo>
                    <a:lnTo>
                      <a:pt x="1159838" y="204570"/>
                    </a:lnTo>
                    <a:cubicBezTo>
                      <a:pt x="1168650" y="193420"/>
                      <a:pt x="1182101" y="186939"/>
                      <a:pt x="1196319" y="186992"/>
                    </a:cubicBezTo>
                    <a:lnTo>
                      <a:pt x="1290982" y="186992"/>
                    </a:lnTo>
                    <a:lnTo>
                      <a:pt x="1290982" y="214044"/>
                    </a:lnTo>
                    <a:cubicBezTo>
                      <a:pt x="1290976" y="224663"/>
                      <a:pt x="1287372" y="234967"/>
                      <a:pt x="1280755" y="243277"/>
                    </a:cubicBezTo>
                    <a:lnTo>
                      <a:pt x="1221014" y="318074"/>
                    </a:lnTo>
                    <a:lnTo>
                      <a:pt x="159019" y="318074"/>
                    </a:lnTo>
                    <a:lnTo>
                      <a:pt x="159019" y="261976"/>
                    </a:lnTo>
                    <a:close/>
                    <a:moveTo>
                      <a:pt x="1141193" y="373985"/>
                    </a:moveTo>
                    <a:lnTo>
                      <a:pt x="1122485" y="373985"/>
                    </a:lnTo>
                    <a:cubicBezTo>
                      <a:pt x="1122485" y="384313"/>
                      <a:pt x="1114110" y="392684"/>
                      <a:pt x="1103777" y="392684"/>
                    </a:cubicBezTo>
                    <a:lnTo>
                      <a:pt x="1066361" y="392684"/>
                    </a:lnTo>
                    <a:cubicBezTo>
                      <a:pt x="1056028" y="392684"/>
                      <a:pt x="1047652" y="384313"/>
                      <a:pt x="1047652" y="373985"/>
                    </a:cubicBezTo>
                    <a:lnTo>
                      <a:pt x="1028944" y="373985"/>
                    </a:lnTo>
                    <a:cubicBezTo>
                      <a:pt x="1028944" y="384313"/>
                      <a:pt x="1020569" y="392684"/>
                      <a:pt x="1010236" y="392684"/>
                    </a:cubicBezTo>
                    <a:lnTo>
                      <a:pt x="972820" y="392684"/>
                    </a:lnTo>
                    <a:cubicBezTo>
                      <a:pt x="962487" y="392684"/>
                      <a:pt x="954112" y="384313"/>
                      <a:pt x="954112" y="373985"/>
                    </a:cubicBezTo>
                    <a:lnTo>
                      <a:pt x="935404" y="373985"/>
                    </a:lnTo>
                    <a:cubicBezTo>
                      <a:pt x="935404" y="384313"/>
                      <a:pt x="927029" y="392684"/>
                      <a:pt x="916696" y="392684"/>
                    </a:cubicBezTo>
                    <a:lnTo>
                      <a:pt x="879280" y="392684"/>
                    </a:lnTo>
                    <a:cubicBezTo>
                      <a:pt x="868947" y="392684"/>
                      <a:pt x="860572" y="384313"/>
                      <a:pt x="860572" y="373985"/>
                    </a:cubicBezTo>
                    <a:lnTo>
                      <a:pt x="841864" y="373985"/>
                    </a:lnTo>
                    <a:cubicBezTo>
                      <a:pt x="841864" y="384313"/>
                      <a:pt x="833489" y="392684"/>
                      <a:pt x="823155" y="392684"/>
                    </a:cubicBezTo>
                    <a:lnTo>
                      <a:pt x="785739" y="392684"/>
                    </a:lnTo>
                    <a:cubicBezTo>
                      <a:pt x="775406" y="392684"/>
                      <a:pt x="767031" y="384313"/>
                      <a:pt x="767031" y="373985"/>
                    </a:cubicBezTo>
                    <a:lnTo>
                      <a:pt x="748323" y="373985"/>
                    </a:lnTo>
                    <a:cubicBezTo>
                      <a:pt x="748323" y="384313"/>
                      <a:pt x="739948" y="392684"/>
                      <a:pt x="729615" y="392684"/>
                    </a:cubicBezTo>
                    <a:lnTo>
                      <a:pt x="692199" y="392684"/>
                    </a:lnTo>
                    <a:cubicBezTo>
                      <a:pt x="681866" y="392684"/>
                      <a:pt x="673491" y="384313"/>
                      <a:pt x="673491" y="373985"/>
                    </a:cubicBezTo>
                    <a:lnTo>
                      <a:pt x="654783" y="373985"/>
                    </a:lnTo>
                    <a:cubicBezTo>
                      <a:pt x="654783" y="384313"/>
                      <a:pt x="646408" y="392684"/>
                      <a:pt x="636075" y="392684"/>
                    </a:cubicBezTo>
                    <a:lnTo>
                      <a:pt x="598659" y="392684"/>
                    </a:lnTo>
                    <a:cubicBezTo>
                      <a:pt x="588325" y="392684"/>
                      <a:pt x="579950" y="384313"/>
                      <a:pt x="579950" y="373985"/>
                    </a:cubicBezTo>
                    <a:lnTo>
                      <a:pt x="561242" y="373985"/>
                    </a:lnTo>
                    <a:cubicBezTo>
                      <a:pt x="561242" y="384313"/>
                      <a:pt x="552867" y="392684"/>
                      <a:pt x="542534" y="392684"/>
                    </a:cubicBezTo>
                    <a:lnTo>
                      <a:pt x="505118" y="392684"/>
                    </a:lnTo>
                    <a:cubicBezTo>
                      <a:pt x="494785" y="392684"/>
                      <a:pt x="486410" y="384313"/>
                      <a:pt x="486410" y="373985"/>
                    </a:cubicBezTo>
                    <a:lnTo>
                      <a:pt x="467702" y="373985"/>
                    </a:lnTo>
                    <a:cubicBezTo>
                      <a:pt x="467702" y="384313"/>
                      <a:pt x="459327" y="392684"/>
                      <a:pt x="448994" y="392684"/>
                    </a:cubicBezTo>
                    <a:lnTo>
                      <a:pt x="411578" y="392684"/>
                    </a:lnTo>
                    <a:cubicBezTo>
                      <a:pt x="401245" y="392684"/>
                      <a:pt x="392870" y="384313"/>
                      <a:pt x="392870" y="373985"/>
                    </a:cubicBezTo>
                    <a:lnTo>
                      <a:pt x="374162" y="373985"/>
                    </a:lnTo>
                    <a:cubicBezTo>
                      <a:pt x="374162" y="384313"/>
                      <a:pt x="365787" y="392684"/>
                      <a:pt x="355453" y="392684"/>
                    </a:cubicBezTo>
                    <a:lnTo>
                      <a:pt x="318037" y="392684"/>
                    </a:lnTo>
                    <a:cubicBezTo>
                      <a:pt x="307704" y="392684"/>
                      <a:pt x="299329" y="384313"/>
                      <a:pt x="299329" y="373985"/>
                    </a:cubicBezTo>
                    <a:lnTo>
                      <a:pt x="280621" y="373985"/>
                    </a:lnTo>
                    <a:cubicBezTo>
                      <a:pt x="280621" y="384313"/>
                      <a:pt x="272246" y="392684"/>
                      <a:pt x="261913" y="392684"/>
                    </a:cubicBezTo>
                    <a:lnTo>
                      <a:pt x="224497" y="392684"/>
                    </a:lnTo>
                    <a:cubicBezTo>
                      <a:pt x="214164" y="392684"/>
                      <a:pt x="205789" y="384313"/>
                      <a:pt x="205789" y="373985"/>
                    </a:cubicBezTo>
                    <a:lnTo>
                      <a:pt x="187081" y="373985"/>
                    </a:lnTo>
                    <a:cubicBezTo>
                      <a:pt x="187081" y="384313"/>
                      <a:pt x="178706" y="392684"/>
                      <a:pt x="168373" y="392684"/>
                    </a:cubicBezTo>
                    <a:lnTo>
                      <a:pt x="159019" y="392684"/>
                    </a:lnTo>
                    <a:lnTo>
                      <a:pt x="159019" y="336586"/>
                    </a:lnTo>
                    <a:lnTo>
                      <a:pt x="1205923" y="336586"/>
                    </a:lnTo>
                    <a:lnTo>
                      <a:pt x="1161023" y="392684"/>
                    </a:lnTo>
                    <a:lnTo>
                      <a:pt x="1159901" y="392684"/>
                    </a:lnTo>
                    <a:cubicBezTo>
                      <a:pt x="1149568" y="392684"/>
                      <a:pt x="1141193" y="384313"/>
                      <a:pt x="1141193" y="373985"/>
                    </a:cubicBez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333F5EB5-CE54-F34E-9580-82DE333CFF9B}"/>
                  </a:ext>
                </a:extLst>
              </p:cNvPr>
              <p:cNvSpPr/>
              <p:nvPr/>
            </p:nvSpPr>
            <p:spPr>
              <a:xfrm>
                <a:off x="4590373" y="1119954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5C07EDBD-C56D-B848-89B9-8D83B62824C7}"/>
                  </a:ext>
                </a:extLst>
              </p:cNvPr>
              <p:cNvSpPr/>
              <p:nvPr/>
            </p:nvSpPr>
            <p:spPr>
              <a:xfrm>
                <a:off x="4646498" y="1119954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130022DD-50D0-C547-BCF9-964DEF056AB2}"/>
                  </a:ext>
                </a:extLst>
              </p:cNvPr>
              <p:cNvSpPr/>
              <p:nvPr/>
            </p:nvSpPr>
            <p:spPr>
              <a:xfrm>
                <a:off x="4702622" y="1119954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3544E9B8-87F1-E74E-B266-61C85ABEFBCF}"/>
                  </a:ext>
                </a:extLst>
              </p:cNvPr>
              <p:cNvSpPr/>
              <p:nvPr/>
            </p:nvSpPr>
            <p:spPr>
              <a:xfrm>
                <a:off x="4814870" y="1119954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7B71B-33D3-4B4F-9E56-658F38ECEF6E}"/>
                  </a:ext>
                </a:extLst>
              </p:cNvPr>
              <p:cNvSpPr/>
              <p:nvPr/>
            </p:nvSpPr>
            <p:spPr>
              <a:xfrm>
                <a:off x="4870995" y="1119954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576B696F-D1B8-8040-B670-9B86A57882D7}"/>
                  </a:ext>
                </a:extLst>
              </p:cNvPr>
              <p:cNvSpPr/>
              <p:nvPr/>
            </p:nvSpPr>
            <p:spPr>
              <a:xfrm>
                <a:off x="4927119" y="1119954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F1E41282-7D01-9843-89B2-FEE07A47F0EC}"/>
                  </a:ext>
                </a:extLst>
              </p:cNvPr>
              <p:cNvSpPr/>
              <p:nvPr/>
            </p:nvSpPr>
            <p:spPr>
              <a:xfrm>
                <a:off x="4814870" y="998409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561FFE0-3889-0D4D-A64F-9DC364FF8684}"/>
                  </a:ext>
                </a:extLst>
              </p:cNvPr>
              <p:cNvSpPr/>
              <p:nvPr/>
            </p:nvSpPr>
            <p:spPr>
              <a:xfrm>
                <a:off x="4870995" y="998409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07CF1F44-D55C-DC43-9536-E88AED2360C4}"/>
                  </a:ext>
                </a:extLst>
              </p:cNvPr>
              <p:cNvSpPr/>
              <p:nvPr/>
            </p:nvSpPr>
            <p:spPr>
              <a:xfrm>
                <a:off x="4927119" y="998409"/>
                <a:ext cx="18708" cy="46748"/>
              </a:xfrm>
              <a:custGeom>
                <a:avLst/>
                <a:gdLst>
                  <a:gd name="connsiteX0" fmla="*/ 0 w 18708"/>
                  <a:gd name="connsiteY0" fmla="*/ 0 h 46748"/>
                  <a:gd name="connsiteX1" fmla="*/ 18708 w 18708"/>
                  <a:gd name="connsiteY1" fmla="*/ 0 h 46748"/>
                  <a:gd name="connsiteX2" fmla="*/ 18708 w 18708"/>
                  <a:gd name="connsiteY2" fmla="*/ 46748 h 46748"/>
                  <a:gd name="connsiteX3" fmla="*/ 0 w 18708"/>
                  <a:gd name="connsiteY3" fmla="*/ 46748 h 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46748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46748"/>
                    </a:lnTo>
                    <a:lnTo>
                      <a:pt x="0" y="46748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2B80AA73-1531-8748-8DA8-F7206A7EA077}"/>
                </a:ext>
              </a:extLst>
            </p:cNvPr>
            <p:cNvGrpSpPr/>
            <p:nvPr/>
          </p:nvGrpSpPr>
          <p:grpSpPr>
            <a:xfrm>
              <a:off x="4527650" y="5300109"/>
              <a:ext cx="681025" cy="604462"/>
              <a:chOff x="4527650" y="5300109"/>
              <a:chExt cx="681025" cy="604462"/>
            </a:xfrm>
          </p:grpSpPr>
          <p:grpSp>
            <p:nvGrpSpPr>
              <p:cNvPr id="45" name="Graphic 6">
                <a:extLst>
                  <a:ext uri="{FF2B5EF4-FFF2-40B4-BE49-F238E27FC236}">
                    <a16:creationId xmlns:a16="http://schemas.microsoft.com/office/drawing/2014/main" id="{8AA021C3-9517-6944-ABA4-B344304DD10E}"/>
                  </a:ext>
                </a:extLst>
              </p:cNvPr>
              <p:cNvGrpSpPr/>
              <p:nvPr/>
            </p:nvGrpSpPr>
            <p:grpSpPr>
              <a:xfrm>
                <a:off x="4635111" y="5521576"/>
                <a:ext cx="273549" cy="273455"/>
                <a:chOff x="4635111" y="5521576"/>
                <a:chExt cx="273549" cy="273455"/>
              </a:xfrm>
              <a:solidFill>
                <a:srgbClr val="FFFFFF"/>
              </a:solidFill>
            </p:grpSpPr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DD72BBB2-E729-404C-8329-99F6C50B3E8D}"/>
                    </a:ext>
                  </a:extLst>
                </p:cNvPr>
                <p:cNvSpPr/>
                <p:nvPr/>
              </p:nvSpPr>
              <p:spPr>
                <a:xfrm>
                  <a:off x="4635111" y="5521576"/>
                  <a:ext cx="273549" cy="273455"/>
                </a:xfrm>
                <a:custGeom>
                  <a:avLst/>
                  <a:gdLst>
                    <a:gd name="connsiteX0" fmla="*/ 267313 w 273549"/>
                    <a:gd name="connsiteY0" fmla="*/ 95921 h 273455"/>
                    <a:gd name="connsiteX1" fmla="*/ 95966 w 273549"/>
                    <a:gd name="connsiteY1" fmla="*/ 6270 h 273455"/>
                    <a:gd name="connsiteX2" fmla="*/ 6273 w 273549"/>
                    <a:gd name="connsiteY2" fmla="*/ 177531 h 273455"/>
                    <a:gd name="connsiteX3" fmla="*/ 177621 w 273549"/>
                    <a:gd name="connsiteY3" fmla="*/ 267187 h 273455"/>
                    <a:gd name="connsiteX4" fmla="*/ 273549 w 273549"/>
                    <a:gd name="connsiteY4" fmla="*/ 136747 h 273455"/>
                    <a:gd name="connsiteX5" fmla="*/ 267313 w 273549"/>
                    <a:gd name="connsiteY5" fmla="*/ 95921 h 273455"/>
                    <a:gd name="connsiteX6" fmla="*/ 136918 w 273549"/>
                    <a:gd name="connsiteY6" fmla="*/ 254553 h 273455"/>
                    <a:gd name="connsiteX7" fmla="*/ 19219 w 273549"/>
                    <a:gd name="connsiteY7" fmla="*/ 136710 h 273455"/>
                    <a:gd name="connsiteX8" fmla="*/ 137111 w 273549"/>
                    <a:gd name="connsiteY8" fmla="*/ 19067 h 273455"/>
                    <a:gd name="connsiteX9" fmla="*/ 247483 w 273549"/>
                    <a:gd name="connsiteY9" fmla="*/ 95921 h 273455"/>
                    <a:gd name="connsiteX10" fmla="*/ 254779 w 273549"/>
                    <a:gd name="connsiteY10" fmla="*/ 136747 h 273455"/>
                    <a:gd name="connsiteX11" fmla="*/ 136918 w 273549"/>
                    <a:gd name="connsiteY11" fmla="*/ 254553 h 273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73549" h="273455">
                      <a:moveTo>
                        <a:pt x="267313" y="95921"/>
                      </a:moveTo>
                      <a:cubicBezTo>
                        <a:pt x="244764" y="23873"/>
                        <a:pt x="168055" y="-16268"/>
                        <a:pt x="95966" y="6270"/>
                      </a:cubicBezTo>
                      <a:cubicBezTo>
                        <a:pt x="23884" y="28803"/>
                        <a:pt x="-16276" y="105482"/>
                        <a:pt x="6273" y="177531"/>
                      </a:cubicBezTo>
                      <a:cubicBezTo>
                        <a:pt x="28823" y="249585"/>
                        <a:pt x="105532" y="289720"/>
                        <a:pt x="177621" y="267187"/>
                      </a:cubicBezTo>
                      <a:cubicBezTo>
                        <a:pt x="234687" y="249342"/>
                        <a:pt x="273543" y="196510"/>
                        <a:pt x="273549" y="136747"/>
                      </a:cubicBezTo>
                      <a:cubicBezTo>
                        <a:pt x="273549" y="122904"/>
                        <a:pt x="271448" y="109135"/>
                        <a:pt x="267313" y="95921"/>
                      </a:cubicBezTo>
                      <a:close/>
                      <a:moveTo>
                        <a:pt x="136918" y="254553"/>
                      </a:moveTo>
                      <a:cubicBezTo>
                        <a:pt x="71858" y="254497"/>
                        <a:pt x="19163" y="201740"/>
                        <a:pt x="19219" y="136710"/>
                      </a:cubicBezTo>
                      <a:cubicBezTo>
                        <a:pt x="19269" y="71686"/>
                        <a:pt x="72057" y="19011"/>
                        <a:pt x="137111" y="19067"/>
                      </a:cubicBezTo>
                      <a:cubicBezTo>
                        <a:pt x="186357" y="19110"/>
                        <a:pt x="230384" y="49765"/>
                        <a:pt x="247483" y="95921"/>
                      </a:cubicBezTo>
                      <a:cubicBezTo>
                        <a:pt x="252334" y="108985"/>
                        <a:pt x="254804" y="122810"/>
                        <a:pt x="254779" y="136747"/>
                      </a:cubicBezTo>
                      <a:cubicBezTo>
                        <a:pt x="254710" y="201783"/>
                        <a:pt x="201985" y="254484"/>
                        <a:pt x="136918" y="2545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2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VN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B7B222E0-B121-6F44-A774-26A9DD3ED491}"/>
                    </a:ext>
                  </a:extLst>
                </p:cNvPr>
                <p:cNvSpPr/>
                <p:nvPr/>
              </p:nvSpPr>
              <p:spPr>
                <a:xfrm>
                  <a:off x="4707237" y="5584649"/>
                  <a:ext cx="78698" cy="139932"/>
                </a:xfrm>
                <a:custGeom>
                  <a:avLst/>
                  <a:gdLst>
                    <a:gd name="connsiteX0" fmla="*/ 78699 w 78698"/>
                    <a:gd name="connsiteY0" fmla="*/ 72678 h 139932"/>
                    <a:gd name="connsiteX1" fmla="*/ 78699 w 78698"/>
                    <a:gd name="connsiteY1" fmla="*/ 139932 h 139932"/>
                    <a:gd name="connsiteX2" fmla="*/ 58307 w 78698"/>
                    <a:gd name="connsiteY2" fmla="*/ 139932 h 139932"/>
                    <a:gd name="connsiteX3" fmla="*/ 58307 w 78698"/>
                    <a:gd name="connsiteY3" fmla="*/ 72678 h 139932"/>
                    <a:gd name="connsiteX4" fmla="*/ 0 w 78698"/>
                    <a:gd name="connsiteY4" fmla="*/ 14460 h 139932"/>
                    <a:gd name="connsiteX5" fmla="*/ 14468 w 78698"/>
                    <a:gd name="connsiteY5" fmla="*/ 0 h 139932"/>
                    <a:gd name="connsiteX6" fmla="*/ 72712 w 78698"/>
                    <a:gd name="connsiteY6" fmla="*/ 58279 h 139932"/>
                    <a:gd name="connsiteX7" fmla="*/ 78699 w 78698"/>
                    <a:gd name="connsiteY7" fmla="*/ 72678 h 139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8698" h="139932">
                      <a:moveTo>
                        <a:pt x="78699" y="72678"/>
                      </a:moveTo>
                      <a:lnTo>
                        <a:pt x="78699" y="139932"/>
                      </a:lnTo>
                      <a:lnTo>
                        <a:pt x="58307" y="139932"/>
                      </a:lnTo>
                      <a:lnTo>
                        <a:pt x="58307" y="72678"/>
                      </a:lnTo>
                      <a:lnTo>
                        <a:pt x="0" y="14460"/>
                      </a:lnTo>
                      <a:lnTo>
                        <a:pt x="14468" y="0"/>
                      </a:lnTo>
                      <a:lnTo>
                        <a:pt x="72712" y="58279"/>
                      </a:lnTo>
                      <a:cubicBezTo>
                        <a:pt x="76560" y="62081"/>
                        <a:pt x="78717" y="67267"/>
                        <a:pt x="78699" y="7267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2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VN"/>
                </a:p>
              </p:txBody>
            </p:sp>
          </p:grpSp>
          <p:grpSp>
            <p:nvGrpSpPr>
              <p:cNvPr id="50" name="Graphic 6">
                <a:extLst>
                  <a:ext uri="{FF2B5EF4-FFF2-40B4-BE49-F238E27FC236}">
                    <a16:creationId xmlns:a16="http://schemas.microsoft.com/office/drawing/2014/main" id="{8AA021C3-9517-6944-ABA4-B344304DD10E}"/>
                  </a:ext>
                </a:extLst>
              </p:cNvPr>
              <p:cNvGrpSpPr/>
              <p:nvPr/>
            </p:nvGrpSpPr>
            <p:grpSpPr>
              <a:xfrm>
                <a:off x="4894380" y="5300109"/>
                <a:ext cx="314295" cy="264096"/>
                <a:chOff x="4894380" y="5300109"/>
                <a:chExt cx="314295" cy="264096"/>
              </a:xfrm>
              <a:solidFill>
                <a:srgbClr val="FFFFFF"/>
              </a:solidFill>
            </p:grpSpPr>
            <p:sp>
              <p:nvSpPr>
                <p:cNvPr id="51" name="Freeform 50">
                  <a:extLst>
                    <a:ext uri="{FF2B5EF4-FFF2-40B4-BE49-F238E27FC236}">
                      <a16:creationId xmlns:a16="http://schemas.microsoft.com/office/drawing/2014/main" id="{63323A36-5EB6-1E47-8ADB-7D5C41B9D05F}"/>
                    </a:ext>
                  </a:extLst>
                </p:cNvPr>
                <p:cNvSpPr/>
                <p:nvPr/>
              </p:nvSpPr>
              <p:spPr>
                <a:xfrm>
                  <a:off x="4894380" y="5300109"/>
                  <a:ext cx="314295" cy="264096"/>
                </a:xfrm>
                <a:custGeom>
                  <a:avLst/>
                  <a:gdLst>
                    <a:gd name="connsiteX0" fmla="*/ 295900 w 314295"/>
                    <a:gd name="connsiteY0" fmla="*/ 0 h 264096"/>
                    <a:gd name="connsiteX1" fmla="*/ 18708 w 314295"/>
                    <a:gd name="connsiteY1" fmla="*/ 0 h 264096"/>
                    <a:gd name="connsiteX2" fmla="*/ 0 w 314295"/>
                    <a:gd name="connsiteY2" fmla="*/ 18699 h 264096"/>
                    <a:gd name="connsiteX3" fmla="*/ 0 w 314295"/>
                    <a:gd name="connsiteY3" fmla="*/ 173591 h 264096"/>
                    <a:gd name="connsiteX4" fmla="*/ 18708 w 314295"/>
                    <a:gd name="connsiteY4" fmla="*/ 192727 h 264096"/>
                    <a:gd name="connsiteX5" fmla="*/ 67287 w 314295"/>
                    <a:gd name="connsiteY5" fmla="*/ 193101 h 264096"/>
                    <a:gd name="connsiteX6" fmla="*/ 67287 w 314295"/>
                    <a:gd name="connsiteY6" fmla="*/ 245022 h 264096"/>
                    <a:gd name="connsiteX7" fmla="*/ 85995 w 314295"/>
                    <a:gd name="connsiteY7" fmla="*/ 264096 h 264096"/>
                    <a:gd name="connsiteX8" fmla="*/ 115304 w 314295"/>
                    <a:gd name="connsiteY8" fmla="*/ 264096 h 264096"/>
                    <a:gd name="connsiteX9" fmla="*/ 129897 w 314295"/>
                    <a:gd name="connsiteY9" fmla="*/ 257239 h 264096"/>
                    <a:gd name="connsiteX10" fmla="*/ 182903 w 314295"/>
                    <a:gd name="connsiteY10" fmla="*/ 192976 h 264096"/>
                    <a:gd name="connsiteX11" fmla="*/ 295588 w 314295"/>
                    <a:gd name="connsiteY11" fmla="*/ 192976 h 264096"/>
                    <a:gd name="connsiteX12" fmla="*/ 314296 w 314295"/>
                    <a:gd name="connsiteY12" fmla="*/ 173841 h 264096"/>
                    <a:gd name="connsiteX13" fmla="*/ 314296 w 314295"/>
                    <a:gd name="connsiteY13" fmla="*/ 19136 h 264096"/>
                    <a:gd name="connsiteX14" fmla="*/ 295900 w 314295"/>
                    <a:gd name="connsiteY14" fmla="*/ 0 h 264096"/>
                    <a:gd name="connsiteX15" fmla="*/ 295900 w 314295"/>
                    <a:gd name="connsiteY15" fmla="*/ 174526 h 264096"/>
                    <a:gd name="connsiteX16" fmla="*/ 183651 w 314295"/>
                    <a:gd name="connsiteY16" fmla="*/ 174526 h 264096"/>
                    <a:gd name="connsiteX17" fmla="*/ 168934 w 314295"/>
                    <a:gd name="connsiteY17" fmla="*/ 181445 h 264096"/>
                    <a:gd name="connsiteX18" fmla="*/ 115741 w 314295"/>
                    <a:gd name="connsiteY18" fmla="*/ 245770 h 264096"/>
                    <a:gd name="connsiteX19" fmla="*/ 85995 w 314295"/>
                    <a:gd name="connsiteY19" fmla="*/ 245022 h 264096"/>
                    <a:gd name="connsiteX20" fmla="*/ 85995 w 314295"/>
                    <a:gd name="connsiteY20" fmla="*/ 193226 h 264096"/>
                    <a:gd name="connsiteX21" fmla="*/ 66913 w 314295"/>
                    <a:gd name="connsiteY21" fmla="*/ 174152 h 264096"/>
                    <a:gd name="connsiteX22" fmla="*/ 18459 w 314295"/>
                    <a:gd name="connsiteY22" fmla="*/ 173716 h 264096"/>
                    <a:gd name="connsiteX23" fmla="*/ 18459 w 314295"/>
                    <a:gd name="connsiteY23" fmla="*/ 98919 h 264096"/>
                    <a:gd name="connsiteX24" fmla="*/ 18459 w 314295"/>
                    <a:gd name="connsiteY24" fmla="*/ 18388 h 264096"/>
                    <a:gd name="connsiteX25" fmla="*/ 295900 w 314295"/>
                    <a:gd name="connsiteY25" fmla="*/ 18824 h 264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314295" h="264096">
                      <a:moveTo>
                        <a:pt x="295900" y="0"/>
                      </a:moveTo>
                      <a:lnTo>
                        <a:pt x="18708" y="0"/>
                      </a:lnTo>
                      <a:cubicBezTo>
                        <a:pt x="8375" y="0"/>
                        <a:pt x="0" y="8371"/>
                        <a:pt x="0" y="18699"/>
                      </a:cubicBezTo>
                      <a:lnTo>
                        <a:pt x="0" y="173591"/>
                      </a:lnTo>
                      <a:cubicBezTo>
                        <a:pt x="-37" y="184007"/>
                        <a:pt x="8294" y="192521"/>
                        <a:pt x="18708" y="192727"/>
                      </a:cubicBezTo>
                      <a:lnTo>
                        <a:pt x="67287" y="193101"/>
                      </a:lnTo>
                      <a:lnTo>
                        <a:pt x="67287" y="245022"/>
                      </a:lnTo>
                      <a:cubicBezTo>
                        <a:pt x="67287" y="255413"/>
                        <a:pt x="75606" y="263890"/>
                        <a:pt x="85995" y="264096"/>
                      </a:cubicBezTo>
                      <a:lnTo>
                        <a:pt x="115304" y="264096"/>
                      </a:lnTo>
                      <a:cubicBezTo>
                        <a:pt x="120954" y="264133"/>
                        <a:pt x="126317" y="261609"/>
                        <a:pt x="129897" y="257239"/>
                      </a:cubicBezTo>
                      <a:lnTo>
                        <a:pt x="182903" y="192976"/>
                      </a:lnTo>
                      <a:lnTo>
                        <a:pt x="295588" y="192976"/>
                      </a:lnTo>
                      <a:cubicBezTo>
                        <a:pt x="306002" y="192771"/>
                        <a:pt x="314333" y="184256"/>
                        <a:pt x="314296" y="173841"/>
                      </a:cubicBezTo>
                      <a:lnTo>
                        <a:pt x="314296" y="19136"/>
                      </a:lnTo>
                      <a:cubicBezTo>
                        <a:pt x="314333" y="8838"/>
                        <a:pt x="306195" y="368"/>
                        <a:pt x="295900" y="0"/>
                      </a:cubicBezTo>
                      <a:close/>
                      <a:moveTo>
                        <a:pt x="295900" y="174526"/>
                      </a:moveTo>
                      <a:lnTo>
                        <a:pt x="183651" y="174526"/>
                      </a:lnTo>
                      <a:cubicBezTo>
                        <a:pt x="177945" y="174470"/>
                        <a:pt x="172526" y="177020"/>
                        <a:pt x="168934" y="181445"/>
                      </a:cubicBezTo>
                      <a:lnTo>
                        <a:pt x="115741" y="245770"/>
                      </a:lnTo>
                      <a:lnTo>
                        <a:pt x="85995" y="245022"/>
                      </a:lnTo>
                      <a:lnTo>
                        <a:pt x="85995" y="193226"/>
                      </a:lnTo>
                      <a:cubicBezTo>
                        <a:pt x="85995" y="182692"/>
                        <a:pt x="77452" y="174152"/>
                        <a:pt x="66913" y="174152"/>
                      </a:cubicBezTo>
                      <a:lnTo>
                        <a:pt x="18459" y="173716"/>
                      </a:lnTo>
                      <a:lnTo>
                        <a:pt x="18459" y="98919"/>
                      </a:lnTo>
                      <a:lnTo>
                        <a:pt x="18459" y="18388"/>
                      </a:lnTo>
                      <a:lnTo>
                        <a:pt x="295900" y="188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2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VN"/>
                </a:p>
              </p:txBody>
            </p:sp>
            <p:sp>
              <p:nvSpPr>
                <p:cNvPr id="52" name="Freeform 51">
                  <a:extLst>
                    <a:ext uri="{FF2B5EF4-FFF2-40B4-BE49-F238E27FC236}">
                      <a16:creationId xmlns:a16="http://schemas.microsoft.com/office/drawing/2014/main" id="{A716D572-F44A-BE45-BB06-E3DFB033FCF1}"/>
                    </a:ext>
                  </a:extLst>
                </p:cNvPr>
                <p:cNvSpPr/>
                <p:nvPr/>
              </p:nvSpPr>
              <p:spPr>
                <a:xfrm>
                  <a:off x="4971395" y="5359136"/>
                  <a:ext cx="160141" cy="68563"/>
                </a:xfrm>
                <a:custGeom>
                  <a:avLst/>
                  <a:gdLst>
                    <a:gd name="connsiteX0" fmla="*/ 0 w 160141"/>
                    <a:gd name="connsiteY0" fmla="*/ 68564 h 68563"/>
                    <a:gd name="connsiteX1" fmla="*/ 0 w 160141"/>
                    <a:gd name="connsiteY1" fmla="*/ 0 h 68563"/>
                    <a:gd name="connsiteX2" fmla="*/ 22949 w 160141"/>
                    <a:gd name="connsiteY2" fmla="*/ 0 h 68563"/>
                    <a:gd name="connsiteX3" fmla="*/ 22949 w 160141"/>
                    <a:gd name="connsiteY3" fmla="*/ 68564 h 68563"/>
                    <a:gd name="connsiteX4" fmla="*/ 68596 w 160141"/>
                    <a:gd name="connsiteY4" fmla="*/ 68564 h 68563"/>
                    <a:gd name="connsiteX5" fmla="*/ 68596 w 160141"/>
                    <a:gd name="connsiteY5" fmla="*/ 0 h 68563"/>
                    <a:gd name="connsiteX6" fmla="*/ 91545 w 160141"/>
                    <a:gd name="connsiteY6" fmla="*/ 0 h 68563"/>
                    <a:gd name="connsiteX7" fmla="*/ 91545 w 160141"/>
                    <a:gd name="connsiteY7" fmla="*/ 68564 h 68563"/>
                    <a:gd name="connsiteX8" fmla="*/ 137193 w 160141"/>
                    <a:gd name="connsiteY8" fmla="*/ 68564 h 68563"/>
                    <a:gd name="connsiteX9" fmla="*/ 137193 w 160141"/>
                    <a:gd name="connsiteY9" fmla="*/ 0 h 68563"/>
                    <a:gd name="connsiteX10" fmla="*/ 160141 w 160141"/>
                    <a:gd name="connsiteY10" fmla="*/ 0 h 68563"/>
                    <a:gd name="connsiteX11" fmla="*/ 160141 w 160141"/>
                    <a:gd name="connsiteY11" fmla="*/ 68564 h 68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0141" h="68563">
                      <a:moveTo>
                        <a:pt x="0" y="68564"/>
                      </a:moveTo>
                      <a:lnTo>
                        <a:pt x="0" y="0"/>
                      </a:lnTo>
                      <a:lnTo>
                        <a:pt x="22949" y="0"/>
                      </a:lnTo>
                      <a:lnTo>
                        <a:pt x="22949" y="68564"/>
                      </a:lnTo>
                      <a:close/>
                      <a:moveTo>
                        <a:pt x="68596" y="68564"/>
                      </a:moveTo>
                      <a:lnTo>
                        <a:pt x="68596" y="0"/>
                      </a:lnTo>
                      <a:lnTo>
                        <a:pt x="91545" y="0"/>
                      </a:lnTo>
                      <a:lnTo>
                        <a:pt x="91545" y="68564"/>
                      </a:lnTo>
                      <a:close/>
                      <a:moveTo>
                        <a:pt x="137193" y="68564"/>
                      </a:moveTo>
                      <a:lnTo>
                        <a:pt x="137193" y="0"/>
                      </a:lnTo>
                      <a:lnTo>
                        <a:pt x="160141" y="0"/>
                      </a:lnTo>
                      <a:lnTo>
                        <a:pt x="160141" y="6856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2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VN"/>
                </a:p>
              </p:txBody>
            </p:sp>
          </p:grp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0D90BF73-1498-A344-A72D-35CD347FF3B3}"/>
                  </a:ext>
                </a:extLst>
              </p:cNvPr>
              <p:cNvSpPr/>
              <p:nvPr/>
            </p:nvSpPr>
            <p:spPr>
              <a:xfrm>
                <a:off x="4527650" y="5342556"/>
                <a:ext cx="487247" cy="562015"/>
              </a:xfrm>
              <a:custGeom>
                <a:avLst/>
                <a:gdLst>
                  <a:gd name="connsiteX0" fmla="*/ 483281 w 487247"/>
                  <a:gd name="connsiteY0" fmla="*/ 274941 h 562015"/>
                  <a:gd name="connsiteX1" fmla="*/ 464573 w 487247"/>
                  <a:gd name="connsiteY1" fmla="*/ 274941 h 562015"/>
                  <a:gd name="connsiteX2" fmla="*/ 287102 w 487247"/>
                  <a:gd name="connsiteY2" fmla="*/ 538071 h 562015"/>
                  <a:gd name="connsiteX3" fmla="*/ 23848 w 487247"/>
                  <a:gd name="connsiteY3" fmla="*/ 360684 h 562015"/>
                  <a:gd name="connsiteX4" fmla="*/ 201319 w 487247"/>
                  <a:gd name="connsiteY4" fmla="*/ 97554 h 562015"/>
                  <a:gd name="connsiteX5" fmla="*/ 325322 w 487247"/>
                  <a:gd name="connsiteY5" fmla="*/ 108580 h 562015"/>
                  <a:gd name="connsiteX6" fmla="*/ 325322 w 487247"/>
                  <a:gd name="connsiteY6" fmla="*/ 88946 h 562015"/>
                  <a:gd name="connsiteX7" fmla="*/ 297759 w 487247"/>
                  <a:gd name="connsiteY7" fmla="*/ 80968 h 562015"/>
                  <a:gd name="connsiteX8" fmla="*/ 283042 w 487247"/>
                  <a:gd name="connsiteY8" fmla="*/ 14648 h 562015"/>
                  <a:gd name="connsiteX9" fmla="*/ 264771 w 487247"/>
                  <a:gd name="connsiteY9" fmla="*/ 0 h 562015"/>
                  <a:gd name="connsiteX10" fmla="*/ 223675 w 487247"/>
                  <a:gd name="connsiteY10" fmla="*/ 0 h 562015"/>
                  <a:gd name="connsiteX11" fmla="*/ 205404 w 487247"/>
                  <a:gd name="connsiteY11" fmla="*/ 14648 h 562015"/>
                  <a:gd name="connsiteX12" fmla="*/ 190188 w 487247"/>
                  <a:gd name="connsiteY12" fmla="*/ 80968 h 562015"/>
                  <a:gd name="connsiteX13" fmla="*/ 5988 w 487247"/>
                  <a:gd name="connsiteY13" fmla="*/ 371916 h 562015"/>
                  <a:gd name="connsiteX14" fmla="*/ 297073 w 487247"/>
                  <a:gd name="connsiteY14" fmla="*/ 556028 h 562015"/>
                  <a:gd name="connsiteX15" fmla="*/ 483281 w 487247"/>
                  <a:gd name="connsiteY15" fmla="*/ 274941 h 562015"/>
                  <a:gd name="connsiteX16" fmla="*/ 223363 w 487247"/>
                  <a:gd name="connsiteY16" fmla="*/ 18699 h 562015"/>
                  <a:gd name="connsiteX17" fmla="*/ 264459 w 487247"/>
                  <a:gd name="connsiteY17" fmla="*/ 18699 h 562015"/>
                  <a:gd name="connsiteX18" fmla="*/ 277492 w 487247"/>
                  <a:gd name="connsiteY18" fmla="*/ 77415 h 562015"/>
                  <a:gd name="connsiteX19" fmla="*/ 210330 w 487247"/>
                  <a:gd name="connsiteY19" fmla="*/ 77415 h 562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87247" h="562015">
                    <a:moveTo>
                      <a:pt x="483281" y="274941"/>
                    </a:moveTo>
                    <a:lnTo>
                      <a:pt x="464573" y="274941"/>
                    </a:lnTo>
                    <a:cubicBezTo>
                      <a:pt x="488264" y="396586"/>
                      <a:pt x="408804" y="514391"/>
                      <a:pt x="287102" y="538071"/>
                    </a:cubicBezTo>
                    <a:cubicBezTo>
                      <a:pt x="165399" y="561751"/>
                      <a:pt x="47539" y="482329"/>
                      <a:pt x="23848" y="360684"/>
                    </a:cubicBezTo>
                    <a:cubicBezTo>
                      <a:pt x="163" y="239039"/>
                      <a:pt x="79617" y="121234"/>
                      <a:pt x="201319" y="97554"/>
                    </a:cubicBezTo>
                    <a:cubicBezTo>
                      <a:pt x="242870" y="89476"/>
                      <a:pt x="285855" y="93297"/>
                      <a:pt x="325322" y="108580"/>
                    </a:cubicBezTo>
                    <a:lnTo>
                      <a:pt x="325322" y="88946"/>
                    </a:lnTo>
                    <a:cubicBezTo>
                      <a:pt x="316299" y="85749"/>
                      <a:pt x="307094" y="83087"/>
                      <a:pt x="297759" y="80968"/>
                    </a:cubicBezTo>
                    <a:lnTo>
                      <a:pt x="283042" y="14648"/>
                    </a:lnTo>
                    <a:cubicBezTo>
                      <a:pt x="281140" y="6090"/>
                      <a:pt x="273545" y="-6"/>
                      <a:pt x="264771" y="0"/>
                    </a:cubicBezTo>
                    <a:lnTo>
                      <a:pt x="223675" y="0"/>
                    </a:lnTo>
                    <a:cubicBezTo>
                      <a:pt x="214901" y="-6"/>
                      <a:pt x="207306" y="6090"/>
                      <a:pt x="205404" y="14648"/>
                    </a:cubicBezTo>
                    <a:lnTo>
                      <a:pt x="190188" y="80968"/>
                    </a:lnTo>
                    <a:cubicBezTo>
                      <a:pt x="58938" y="110469"/>
                      <a:pt x="-23527" y="240734"/>
                      <a:pt x="5988" y="371916"/>
                    </a:cubicBezTo>
                    <a:cubicBezTo>
                      <a:pt x="35503" y="503103"/>
                      <a:pt x="165830" y="585536"/>
                      <a:pt x="297073" y="556028"/>
                    </a:cubicBezTo>
                    <a:cubicBezTo>
                      <a:pt x="424500" y="527388"/>
                      <a:pt x="506647" y="403380"/>
                      <a:pt x="483281" y="274941"/>
                    </a:cubicBezTo>
                    <a:close/>
                    <a:moveTo>
                      <a:pt x="223363" y="18699"/>
                    </a:moveTo>
                    <a:lnTo>
                      <a:pt x="264459" y="18699"/>
                    </a:lnTo>
                    <a:lnTo>
                      <a:pt x="277492" y="77415"/>
                    </a:lnTo>
                    <a:cubicBezTo>
                      <a:pt x="255242" y="73924"/>
                      <a:pt x="232580" y="73924"/>
                      <a:pt x="210330" y="774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90488DFA-FB6D-4D44-BD8E-4AC3E9978C58}"/>
                  </a:ext>
                </a:extLst>
              </p:cNvPr>
              <p:cNvSpPr/>
              <p:nvPr/>
            </p:nvSpPr>
            <p:spPr>
              <a:xfrm>
                <a:off x="4762176" y="5473513"/>
                <a:ext cx="18708" cy="18699"/>
              </a:xfrm>
              <a:custGeom>
                <a:avLst/>
                <a:gdLst>
                  <a:gd name="connsiteX0" fmla="*/ 0 w 18708"/>
                  <a:gd name="connsiteY0" fmla="*/ 0 h 18699"/>
                  <a:gd name="connsiteX1" fmla="*/ 18708 w 18708"/>
                  <a:gd name="connsiteY1" fmla="*/ 0 h 18699"/>
                  <a:gd name="connsiteX2" fmla="*/ 18708 w 18708"/>
                  <a:gd name="connsiteY2" fmla="*/ 18699 h 18699"/>
                  <a:gd name="connsiteX3" fmla="*/ 0 w 18708"/>
                  <a:gd name="connsiteY3" fmla="*/ 18699 h 1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18699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18699"/>
                    </a:lnTo>
                    <a:lnTo>
                      <a:pt x="0" y="18699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DF7A1825-530C-2141-9EBB-380A204CEA85}"/>
                  </a:ext>
                </a:extLst>
              </p:cNvPr>
              <p:cNvSpPr/>
              <p:nvPr/>
            </p:nvSpPr>
            <p:spPr>
              <a:xfrm>
                <a:off x="4584449" y="5651156"/>
                <a:ext cx="18708" cy="18699"/>
              </a:xfrm>
              <a:custGeom>
                <a:avLst/>
                <a:gdLst>
                  <a:gd name="connsiteX0" fmla="*/ 0 w 18708"/>
                  <a:gd name="connsiteY0" fmla="*/ 0 h 18699"/>
                  <a:gd name="connsiteX1" fmla="*/ 18708 w 18708"/>
                  <a:gd name="connsiteY1" fmla="*/ 0 h 18699"/>
                  <a:gd name="connsiteX2" fmla="*/ 18708 w 18708"/>
                  <a:gd name="connsiteY2" fmla="*/ 18699 h 18699"/>
                  <a:gd name="connsiteX3" fmla="*/ 0 w 18708"/>
                  <a:gd name="connsiteY3" fmla="*/ 18699 h 1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18699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18699"/>
                    </a:lnTo>
                    <a:lnTo>
                      <a:pt x="0" y="18699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7F1B0119-A45F-6B46-984C-B2CB66749AC0}"/>
                  </a:ext>
                </a:extLst>
              </p:cNvPr>
              <p:cNvSpPr/>
              <p:nvPr/>
            </p:nvSpPr>
            <p:spPr>
              <a:xfrm>
                <a:off x="4762176" y="5828799"/>
                <a:ext cx="18708" cy="18699"/>
              </a:xfrm>
              <a:custGeom>
                <a:avLst/>
                <a:gdLst>
                  <a:gd name="connsiteX0" fmla="*/ 0 w 18708"/>
                  <a:gd name="connsiteY0" fmla="*/ 0 h 18699"/>
                  <a:gd name="connsiteX1" fmla="*/ 18708 w 18708"/>
                  <a:gd name="connsiteY1" fmla="*/ 0 h 18699"/>
                  <a:gd name="connsiteX2" fmla="*/ 18708 w 18708"/>
                  <a:gd name="connsiteY2" fmla="*/ 18699 h 18699"/>
                  <a:gd name="connsiteX3" fmla="*/ 0 w 18708"/>
                  <a:gd name="connsiteY3" fmla="*/ 18699 h 1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18699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18699"/>
                    </a:lnTo>
                    <a:lnTo>
                      <a:pt x="0" y="18699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025873A5-1571-D746-94B8-3B839AAB4E32}"/>
                  </a:ext>
                </a:extLst>
              </p:cNvPr>
              <p:cNvSpPr/>
              <p:nvPr/>
            </p:nvSpPr>
            <p:spPr>
              <a:xfrm>
                <a:off x="4939903" y="5651156"/>
                <a:ext cx="18708" cy="18699"/>
              </a:xfrm>
              <a:custGeom>
                <a:avLst/>
                <a:gdLst>
                  <a:gd name="connsiteX0" fmla="*/ 0 w 18708"/>
                  <a:gd name="connsiteY0" fmla="*/ 0 h 18699"/>
                  <a:gd name="connsiteX1" fmla="*/ 18708 w 18708"/>
                  <a:gd name="connsiteY1" fmla="*/ 0 h 18699"/>
                  <a:gd name="connsiteX2" fmla="*/ 18708 w 18708"/>
                  <a:gd name="connsiteY2" fmla="*/ 18699 h 18699"/>
                  <a:gd name="connsiteX3" fmla="*/ 0 w 18708"/>
                  <a:gd name="connsiteY3" fmla="*/ 18699 h 1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18699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18699"/>
                    </a:lnTo>
                    <a:lnTo>
                      <a:pt x="0" y="18699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E2DB0C20-DCB5-AB41-AF04-769B187974CE}"/>
                  </a:ext>
                </a:extLst>
              </p:cNvPr>
              <p:cNvSpPr/>
              <p:nvPr/>
            </p:nvSpPr>
            <p:spPr>
              <a:xfrm>
                <a:off x="4852661" y="5548248"/>
                <a:ext cx="49763" cy="69249"/>
              </a:xfrm>
              <a:custGeom>
                <a:avLst/>
                <a:gdLst>
                  <a:gd name="connsiteX0" fmla="*/ 49764 w 49763"/>
                  <a:gd name="connsiteY0" fmla="*/ 69249 h 69249"/>
                  <a:gd name="connsiteX1" fmla="*/ 29933 w 49763"/>
                  <a:gd name="connsiteY1" fmla="*/ 69249 h 69249"/>
                  <a:gd name="connsiteX2" fmla="*/ 0 w 49763"/>
                  <a:gd name="connsiteY2" fmla="*/ 24184 h 69249"/>
                  <a:gd name="connsiteX3" fmla="*/ 0 w 49763"/>
                  <a:gd name="connsiteY3" fmla="*/ 0 h 69249"/>
                  <a:gd name="connsiteX4" fmla="*/ 49764 w 49763"/>
                  <a:gd name="connsiteY4" fmla="*/ 69249 h 69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63" h="69249">
                    <a:moveTo>
                      <a:pt x="49764" y="69249"/>
                    </a:moveTo>
                    <a:lnTo>
                      <a:pt x="29933" y="69249"/>
                    </a:lnTo>
                    <a:cubicBezTo>
                      <a:pt x="23585" y="52115"/>
                      <a:pt x="13339" y="36688"/>
                      <a:pt x="0" y="24184"/>
                    </a:cubicBezTo>
                    <a:lnTo>
                      <a:pt x="0" y="0"/>
                    </a:lnTo>
                    <a:cubicBezTo>
                      <a:pt x="23529" y="17209"/>
                      <a:pt x="40958" y="41469"/>
                      <a:pt x="49764" y="692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</p:grp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8F229D67-466B-934C-961E-2B2B8351D726}"/>
                </a:ext>
              </a:extLst>
            </p:cNvPr>
            <p:cNvSpPr/>
            <p:nvPr/>
          </p:nvSpPr>
          <p:spPr>
            <a:xfrm>
              <a:off x="7027600" y="5322392"/>
              <a:ext cx="860571" cy="559762"/>
            </a:xfrm>
            <a:custGeom>
              <a:avLst/>
              <a:gdLst>
                <a:gd name="connsiteX0" fmla="*/ 505056 w 860571"/>
                <a:gd name="connsiteY0" fmla="*/ 541250 h 559762"/>
                <a:gd name="connsiteX1" fmla="*/ 505056 w 860571"/>
                <a:gd name="connsiteY1" fmla="*/ 223362 h 559762"/>
                <a:gd name="connsiteX2" fmla="*/ 617304 w 860571"/>
                <a:gd name="connsiteY2" fmla="*/ 223362 h 559762"/>
                <a:gd name="connsiteX3" fmla="*/ 617304 w 860571"/>
                <a:gd name="connsiteY3" fmla="*/ 316859 h 559762"/>
                <a:gd name="connsiteX4" fmla="*/ 561180 w 860571"/>
                <a:gd name="connsiteY4" fmla="*/ 316859 h 559762"/>
                <a:gd name="connsiteX5" fmla="*/ 561180 w 860571"/>
                <a:gd name="connsiteY5" fmla="*/ 335558 h 559762"/>
                <a:gd name="connsiteX6" fmla="*/ 692136 w 860571"/>
                <a:gd name="connsiteY6" fmla="*/ 335558 h 559762"/>
                <a:gd name="connsiteX7" fmla="*/ 692136 w 860571"/>
                <a:gd name="connsiteY7" fmla="*/ 316859 h 559762"/>
                <a:gd name="connsiteX8" fmla="*/ 636012 w 860571"/>
                <a:gd name="connsiteY8" fmla="*/ 316859 h 559762"/>
                <a:gd name="connsiteX9" fmla="*/ 636012 w 860571"/>
                <a:gd name="connsiteY9" fmla="*/ 223362 h 559762"/>
                <a:gd name="connsiteX10" fmla="*/ 748261 w 860571"/>
                <a:gd name="connsiteY10" fmla="*/ 223362 h 559762"/>
                <a:gd name="connsiteX11" fmla="*/ 766969 w 860571"/>
                <a:gd name="connsiteY11" fmla="*/ 204663 h 559762"/>
                <a:gd name="connsiteX12" fmla="*/ 766969 w 860571"/>
                <a:gd name="connsiteY12" fmla="*/ 148565 h 559762"/>
                <a:gd name="connsiteX13" fmla="*/ 748261 w 860571"/>
                <a:gd name="connsiteY13" fmla="*/ 129866 h 559762"/>
                <a:gd name="connsiteX14" fmla="*/ 628903 w 860571"/>
                <a:gd name="connsiteY14" fmla="*/ 129866 h 559762"/>
                <a:gd name="connsiteX15" fmla="*/ 373226 w 860571"/>
                <a:gd name="connsiteY15" fmla="*/ 1964 h 559762"/>
                <a:gd name="connsiteX16" fmla="*/ 356389 w 860571"/>
                <a:gd name="connsiteY16" fmla="*/ 1964 h 559762"/>
                <a:gd name="connsiteX17" fmla="*/ 98778 w 860571"/>
                <a:gd name="connsiteY17" fmla="*/ 130801 h 559762"/>
                <a:gd name="connsiteX18" fmla="*/ 98778 w 860571"/>
                <a:gd name="connsiteY18" fmla="*/ 130801 h 559762"/>
                <a:gd name="connsiteX19" fmla="*/ 93540 w 860571"/>
                <a:gd name="connsiteY19" fmla="*/ 139029 h 559762"/>
                <a:gd name="connsiteX20" fmla="*/ 93540 w 860571"/>
                <a:gd name="connsiteY20" fmla="*/ 185777 h 559762"/>
                <a:gd name="connsiteX21" fmla="*/ 130957 w 860571"/>
                <a:gd name="connsiteY21" fmla="*/ 223176 h 559762"/>
                <a:gd name="connsiteX22" fmla="*/ 168373 w 860571"/>
                <a:gd name="connsiteY22" fmla="*/ 223176 h 559762"/>
                <a:gd name="connsiteX23" fmla="*/ 168373 w 860571"/>
                <a:gd name="connsiteY23" fmla="*/ 541063 h 559762"/>
                <a:gd name="connsiteX24" fmla="*/ 0 w 860571"/>
                <a:gd name="connsiteY24" fmla="*/ 541063 h 559762"/>
                <a:gd name="connsiteX25" fmla="*/ 0 w 860571"/>
                <a:gd name="connsiteY25" fmla="*/ 559762 h 559762"/>
                <a:gd name="connsiteX26" fmla="*/ 860572 w 860571"/>
                <a:gd name="connsiteY26" fmla="*/ 559762 h 559762"/>
                <a:gd name="connsiteX27" fmla="*/ 860572 w 860571"/>
                <a:gd name="connsiteY27" fmla="*/ 541063 h 559762"/>
                <a:gd name="connsiteX28" fmla="*/ 374099 w 860571"/>
                <a:gd name="connsiteY28" fmla="*/ 23468 h 559762"/>
                <a:gd name="connsiteX29" fmla="*/ 586997 w 860571"/>
                <a:gd name="connsiteY29" fmla="*/ 129866 h 559762"/>
                <a:gd name="connsiteX30" fmla="*/ 374099 w 860571"/>
                <a:gd name="connsiteY30" fmla="*/ 129866 h 559762"/>
                <a:gd name="connsiteX31" fmla="*/ 355391 w 860571"/>
                <a:gd name="connsiteY31" fmla="*/ 23468 h 559762"/>
                <a:gd name="connsiteX32" fmla="*/ 355391 w 860571"/>
                <a:gd name="connsiteY32" fmla="*/ 129866 h 559762"/>
                <a:gd name="connsiteX33" fmla="*/ 142493 w 860571"/>
                <a:gd name="connsiteY33" fmla="*/ 129866 h 559762"/>
                <a:gd name="connsiteX34" fmla="*/ 130894 w 860571"/>
                <a:gd name="connsiteY34" fmla="*/ 204663 h 559762"/>
                <a:gd name="connsiteX35" fmla="*/ 112186 w 860571"/>
                <a:gd name="connsiteY35" fmla="*/ 185964 h 559762"/>
                <a:gd name="connsiteX36" fmla="*/ 112186 w 860571"/>
                <a:gd name="connsiteY36" fmla="*/ 148565 h 559762"/>
                <a:gd name="connsiteX37" fmla="*/ 748261 w 860571"/>
                <a:gd name="connsiteY37" fmla="*/ 148565 h 559762"/>
                <a:gd name="connsiteX38" fmla="*/ 748261 w 860571"/>
                <a:gd name="connsiteY38" fmla="*/ 204663 h 559762"/>
                <a:gd name="connsiteX39" fmla="*/ 224435 w 860571"/>
                <a:gd name="connsiteY39" fmla="*/ 541250 h 559762"/>
                <a:gd name="connsiteX40" fmla="*/ 187018 w 860571"/>
                <a:gd name="connsiteY40" fmla="*/ 541250 h 559762"/>
                <a:gd name="connsiteX41" fmla="*/ 187018 w 860571"/>
                <a:gd name="connsiteY41" fmla="*/ 223362 h 559762"/>
                <a:gd name="connsiteX42" fmla="*/ 224435 w 860571"/>
                <a:gd name="connsiteY42" fmla="*/ 223362 h 559762"/>
                <a:gd name="connsiteX43" fmla="*/ 430223 w 860571"/>
                <a:gd name="connsiteY43" fmla="*/ 541250 h 559762"/>
                <a:gd name="connsiteX44" fmla="*/ 243143 w 860571"/>
                <a:gd name="connsiteY44" fmla="*/ 541250 h 559762"/>
                <a:gd name="connsiteX45" fmla="*/ 243143 w 860571"/>
                <a:gd name="connsiteY45" fmla="*/ 500299 h 559762"/>
                <a:gd name="connsiteX46" fmla="*/ 430223 w 860571"/>
                <a:gd name="connsiteY46" fmla="*/ 406802 h 559762"/>
                <a:gd name="connsiteX47" fmla="*/ 430223 w 860571"/>
                <a:gd name="connsiteY47" fmla="*/ 385859 h 559762"/>
                <a:gd name="connsiteX48" fmla="*/ 243143 w 860571"/>
                <a:gd name="connsiteY48" fmla="*/ 479355 h 559762"/>
                <a:gd name="connsiteX49" fmla="*/ 243143 w 860571"/>
                <a:gd name="connsiteY49" fmla="*/ 378566 h 559762"/>
                <a:gd name="connsiteX50" fmla="*/ 430223 w 860571"/>
                <a:gd name="connsiteY50" fmla="*/ 285070 h 559762"/>
                <a:gd name="connsiteX51" fmla="*/ 430223 w 860571"/>
                <a:gd name="connsiteY51" fmla="*/ 264314 h 559762"/>
                <a:gd name="connsiteX52" fmla="*/ 243143 w 860571"/>
                <a:gd name="connsiteY52" fmla="*/ 357810 h 559762"/>
                <a:gd name="connsiteX53" fmla="*/ 243143 w 860571"/>
                <a:gd name="connsiteY53" fmla="*/ 223362 h 559762"/>
                <a:gd name="connsiteX54" fmla="*/ 430223 w 860571"/>
                <a:gd name="connsiteY54" fmla="*/ 223362 h 559762"/>
                <a:gd name="connsiteX55" fmla="*/ 486348 w 860571"/>
                <a:gd name="connsiteY55" fmla="*/ 541250 h 559762"/>
                <a:gd name="connsiteX56" fmla="*/ 448931 w 860571"/>
                <a:gd name="connsiteY56" fmla="*/ 541250 h 559762"/>
                <a:gd name="connsiteX57" fmla="*/ 448931 w 860571"/>
                <a:gd name="connsiteY57" fmla="*/ 223362 h 559762"/>
                <a:gd name="connsiteX58" fmla="*/ 486348 w 860571"/>
                <a:gd name="connsiteY58" fmla="*/ 223362 h 55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860571" h="559762">
                  <a:moveTo>
                    <a:pt x="505056" y="541250"/>
                  </a:moveTo>
                  <a:lnTo>
                    <a:pt x="505056" y="223362"/>
                  </a:lnTo>
                  <a:lnTo>
                    <a:pt x="617304" y="223362"/>
                  </a:lnTo>
                  <a:lnTo>
                    <a:pt x="617304" y="316859"/>
                  </a:lnTo>
                  <a:lnTo>
                    <a:pt x="561180" y="316859"/>
                  </a:lnTo>
                  <a:lnTo>
                    <a:pt x="561180" y="335558"/>
                  </a:lnTo>
                  <a:lnTo>
                    <a:pt x="692136" y="335558"/>
                  </a:lnTo>
                  <a:lnTo>
                    <a:pt x="692136" y="316859"/>
                  </a:lnTo>
                  <a:lnTo>
                    <a:pt x="636012" y="316859"/>
                  </a:lnTo>
                  <a:lnTo>
                    <a:pt x="636012" y="223362"/>
                  </a:lnTo>
                  <a:lnTo>
                    <a:pt x="748261" y="223362"/>
                  </a:lnTo>
                  <a:cubicBezTo>
                    <a:pt x="758594" y="223362"/>
                    <a:pt x="766969" y="214992"/>
                    <a:pt x="766969" y="204663"/>
                  </a:cubicBezTo>
                  <a:lnTo>
                    <a:pt x="766969" y="148565"/>
                  </a:lnTo>
                  <a:cubicBezTo>
                    <a:pt x="766969" y="138237"/>
                    <a:pt x="758594" y="129866"/>
                    <a:pt x="748261" y="129866"/>
                  </a:cubicBezTo>
                  <a:lnTo>
                    <a:pt x="628903" y="129866"/>
                  </a:lnTo>
                  <a:lnTo>
                    <a:pt x="373226" y="1964"/>
                  </a:lnTo>
                  <a:cubicBezTo>
                    <a:pt x="367919" y="-655"/>
                    <a:pt x="361696" y="-655"/>
                    <a:pt x="356389" y="1964"/>
                  </a:cubicBezTo>
                  <a:lnTo>
                    <a:pt x="98778" y="130801"/>
                  </a:lnTo>
                  <a:lnTo>
                    <a:pt x="98778" y="130801"/>
                  </a:lnTo>
                  <a:cubicBezTo>
                    <a:pt x="95617" y="132335"/>
                    <a:pt x="93590" y="135520"/>
                    <a:pt x="93540" y="139029"/>
                  </a:cubicBezTo>
                  <a:lnTo>
                    <a:pt x="93540" y="185777"/>
                  </a:lnTo>
                  <a:cubicBezTo>
                    <a:pt x="93540" y="206433"/>
                    <a:pt x="110290" y="223176"/>
                    <a:pt x="130957" y="223176"/>
                  </a:cubicBezTo>
                  <a:lnTo>
                    <a:pt x="168373" y="223176"/>
                  </a:lnTo>
                  <a:lnTo>
                    <a:pt x="168373" y="541063"/>
                  </a:lnTo>
                  <a:lnTo>
                    <a:pt x="0" y="541063"/>
                  </a:lnTo>
                  <a:lnTo>
                    <a:pt x="0" y="559762"/>
                  </a:lnTo>
                  <a:lnTo>
                    <a:pt x="860572" y="559762"/>
                  </a:lnTo>
                  <a:lnTo>
                    <a:pt x="860572" y="541063"/>
                  </a:lnTo>
                  <a:close/>
                  <a:moveTo>
                    <a:pt x="374099" y="23468"/>
                  </a:moveTo>
                  <a:lnTo>
                    <a:pt x="586997" y="129866"/>
                  </a:lnTo>
                  <a:lnTo>
                    <a:pt x="374099" y="129866"/>
                  </a:lnTo>
                  <a:close/>
                  <a:moveTo>
                    <a:pt x="355391" y="23468"/>
                  </a:moveTo>
                  <a:lnTo>
                    <a:pt x="355391" y="129866"/>
                  </a:lnTo>
                  <a:lnTo>
                    <a:pt x="142493" y="129866"/>
                  </a:lnTo>
                  <a:close/>
                  <a:moveTo>
                    <a:pt x="130894" y="204663"/>
                  </a:moveTo>
                  <a:cubicBezTo>
                    <a:pt x="120561" y="204663"/>
                    <a:pt x="112186" y="196292"/>
                    <a:pt x="112186" y="185964"/>
                  </a:cubicBezTo>
                  <a:lnTo>
                    <a:pt x="112186" y="148565"/>
                  </a:lnTo>
                  <a:lnTo>
                    <a:pt x="748261" y="148565"/>
                  </a:lnTo>
                  <a:lnTo>
                    <a:pt x="748261" y="204663"/>
                  </a:lnTo>
                  <a:close/>
                  <a:moveTo>
                    <a:pt x="224435" y="541250"/>
                  </a:moveTo>
                  <a:lnTo>
                    <a:pt x="187018" y="541250"/>
                  </a:lnTo>
                  <a:lnTo>
                    <a:pt x="187018" y="223362"/>
                  </a:lnTo>
                  <a:lnTo>
                    <a:pt x="224435" y="223362"/>
                  </a:lnTo>
                  <a:close/>
                  <a:moveTo>
                    <a:pt x="430223" y="541250"/>
                  </a:moveTo>
                  <a:lnTo>
                    <a:pt x="243143" y="541250"/>
                  </a:lnTo>
                  <a:lnTo>
                    <a:pt x="243143" y="500299"/>
                  </a:lnTo>
                  <a:lnTo>
                    <a:pt x="430223" y="406802"/>
                  </a:lnTo>
                  <a:close/>
                  <a:moveTo>
                    <a:pt x="430223" y="385859"/>
                  </a:moveTo>
                  <a:lnTo>
                    <a:pt x="243143" y="479355"/>
                  </a:lnTo>
                  <a:lnTo>
                    <a:pt x="243143" y="378566"/>
                  </a:lnTo>
                  <a:lnTo>
                    <a:pt x="430223" y="285070"/>
                  </a:lnTo>
                  <a:close/>
                  <a:moveTo>
                    <a:pt x="430223" y="264314"/>
                  </a:moveTo>
                  <a:lnTo>
                    <a:pt x="243143" y="357810"/>
                  </a:lnTo>
                  <a:lnTo>
                    <a:pt x="243143" y="223362"/>
                  </a:lnTo>
                  <a:lnTo>
                    <a:pt x="430223" y="223362"/>
                  </a:lnTo>
                  <a:close/>
                  <a:moveTo>
                    <a:pt x="486348" y="541250"/>
                  </a:moveTo>
                  <a:lnTo>
                    <a:pt x="448931" y="541250"/>
                  </a:lnTo>
                  <a:lnTo>
                    <a:pt x="448931" y="223362"/>
                  </a:lnTo>
                  <a:lnTo>
                    <a:pt x="486348" y="223362"/>
                  </a:lnTo>
                  <a:close/>
                </a:path>
              </a:pathLst>
            </a:custGeom>
            <a:solidFill>
              <a:srgbClr val="FFFFFF"/>
            </a:solidFill>
            <a:ln w="62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VN"/>
            </a:p>
          </p:txBody>
        </p:sp>
        <p:grpSp>
          <p:nvGrpSpPr>
            <p:cNvPr id="60" name="Graphic 6">
              <a:extLst>
                <a:ext uri="{FF2B5EF4-FFF2-40B4-BE49-F238E27FC236}">
                  <a16:creationId xmlns:a16="http://schemas.microsoft.com/office/drawing/2014/main" id="{8AA021C3-9517-6944-ABA4-B344304DD10E}"/>
                </a:ext>
              </a:extLst>
            </p:cNvPr>
            <p:cNvGrpSpPr/>
            <p:nvPr/>
          </p:nvGrpSpPr>
          <p:grpSpPr>
            <a:xfrm>
              <a:off x="7128997" y="890078"/>
              <a:ext cx="486410" cy="557487"/>
              <a:chOff x="7128997" y="890078"/>
              <a:chExt cx="486410" cy="557487"/>
            </a:xfrm>
            <a:solidFill>
              <a:srgbClr val="FFFFFF"/>
            </a:solidFill>
          </p:grpSpPr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30DB737B-010A-D647-83D8-EEA5D6355A42}"/>
                  </a:ext>
                </a:extLst>
              </p:cNvPr>
              <p:cNvSpPr/>
              <p:nvPr/>
            </p:nvSpPr>
            <p:spPr>
              <a:xfrm>
                <a:off x="7184934" y="1241873"/>
                <a:ext cx="18708" cy="93496"/>
              </a:xfrm>
              <a:custGeom>
                <a:avLst/>
                <a:gdLst>
                  <a:gd name="connsiteX0" fmla="*/ 0 w 18708"/>
                  <a:gd name="connsiteY0" fmla="*/ 0 h 93496"/>
                  <a:gd name="connsiteX1" fmla="*/ 18708 w 18708"/>
                  <a:gd name="connsiteY1" fmla="*/ 0 h 93496"/>
                  <a:gd name="connsiteX2" fmla="*/ 18708 w 18708"/>
                  <a:gd name="connsiteY2" fmla="*/ 93496 h 93496"/>
                  <a:gd name="connsiteX3" fmla="*/ 0 w 18708"/>
                  <a:gd name="connsiteY3" fmla="*/ 93496 h 93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93496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93496"/>
                    </a:lnTo>
                    <a:lnTo>
                      <a:pt x="0" y="93496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2A42BCF1-59F4-4143-8556-E0670F518394}"/>
                  </a:ext>
                </a:extLst>
              </p:cNvPr>
              <p:cNvSpPr/>
              <p:nvPr/>
            </p:nvSpPr>
            <p:spPr>
              <a:xfrm>
                <a:off x="7128997" y="890078"/>
                <a:ext cx="486410" cy="557487"/>
              </a:xfrm>
              <a:custGeom>
                <a:avLst/>
                <a:gdLst>
                  <a:gd name="connsiteX0" fmla="*/ 383328 w 486410"/>
                  <a:gd name="connsiteY0" fmla="*/ 276998 h 557487"/>
                  <a:gd name="connsiteX1" fmla="*/ 355266 w 486410"/>
                  <a:gd name="connsiteY1" fmla="*/ 276998 h 557487"/>
                  <a:gd name="connsiteX2" fmla="*/ 355266 w 486410"/>
                  <a:gd name="connsiteY2" fmla="*/ 233367 h 557487"/>
                  <a:gd name="connsiteX3" fmla="*/ 351151 w 486410"/>
                  <a:gd name="connsiteY3" fmla="*/ 221648 h 557487"/>
                  <a:gd name="connsiteX4" fmla="*/ 315792 w 486410"/>
                  <a:gd name="connsiteY4" fmla="*/ 177456 h 557487"/>
                  <a:gd name="connsiteX5" fmla="*/ 301138 w 486410"/>
                  <a:gd name="connsiteY5" fmla="*/ 189174 h 557487"/>
                  <a:gd name="connsiteX6" fmla="*/ 336558 w 486410"/>
                  <a:gd name="connsiteY6" fmla="*/ 233367 h 557487"/>
                  <a:gd name="connsiteX7" fmla="*/ 336558 w 486410"/>
                  <a:gd name="connsiteY7" fmla="*/ 276998 h 557487"/>
                  <a:gd name="connsiteX8" fmla="*/ 308496 w 486410"/>
                  <a:gd name="connsiteY8" fmla="*/ 276998 h 557487"/>
                  <a:gd name="connsiteX9" fmla="*/ 285298 w 486410"/>
                  <a:gd name="connsiteY9" fmla="*/ 279616 h 557487"/>
                  <a:gd name="connsiteX10" fmla="*/ 253307 w 486410"/>
                  <a:gd name="connsiteY10" fmla="*/ 239787 h 557487"/>
                  <a:gd name="connsiteX11" fmla="*/ 243018 w 486410"/>
                  <a:gd name="connsiteY11" fmla="*/ 210865 h 557487"/>
                  <a:gd name="connsiteX12" fmla="*/ 243018 w 486410"/>
                  <a:gd name="connsiteY12" fmla="*/ 155453 h 557487"/>
                  <a:gd name="connsiteX13" fmla="*/ 177539 w 486410"/>
                  <a:gd name="connsiteY13" fmla="*/ 90006 h 557487"/>
                  <a:gd name="connsiteX14" fmla="*/ 168185 w 486410"/>
                  <a:gd name="connsiteY14" fmla="*/ 90006 h 557487"/>
                  <a:gd name="connsiteX15" fmla="*/ 168185 w 486410"/>
                  <a:gd name="connsiteY15" fmla="*/ 55911 h 557487"/>
                  <a:gd name="connsiteX16" fmla="*/ 203544 w 486410"/>
                  <a:gd name="connsiteY16" fmla="*/ 11718 h 557487"/>
                  <a:gd name="connsiteX17" fmla="*/ 188889 w 486410"/>
                  <a:gd name="connsiteY17" fmla="*/ 0 h 557487"/>
                  <a:gd name="connsiteX18" fmla="*/ 153531 w 486410"/>
                  <a:gd name="connsiteY18" fmla="*/ 44255 h 557487"/>
                  <a:gd name="connsiteX19" fmla="*/ 149477 w 486410"/>
                  <a:gd name="connsiteY19" fmla="*/ 55911 h 557487"/>
                  <a:gd name="connsiteX20" fmla="*/ 149477 w 486410"/>
                  <a:gd name="connsiteY20" fmla="*/ 90006 h 557487"/>
                  <a:gd name="connsiteX21" fmla="*/ 140123 w 486410"/>
                  <a:gd name="connsiteY21" fmla="*/ 90006 h 557487"/>
                  <a:gd name="connsiteX22" fmla="*/ 74645 w 486410"/>
                  <a:gd name="connsiteY22" fmla="*/ 155453 h 557487"/>
                  <a:gd name="connsiteX23" fmla="*/ 74645 w 486410"/>
                  <a:gd name="connsiteY23" fmla="*/ 210865 h 557487"/>
                  <a:gd name="connsiteX24" fmla="*/ 64543 w 486410"/>
                  <a:gd name="connsiteY24" fmla="*/ 239787 h 557487"/>
                  <a:gd name="connsiteX25" fmla="*/ 26565 w 486410"/>
                  <a:gd name="connsiteY25" fmla="*/ 287096 h 557487"/>
                  <a:gd name="connsiteX26" fmla="*/ 0 w 486410"/>
                  <a:gd name="connsiteY26" fmla="*/ 363015 h 557487"/>
                  <a:gd name="connsiteX27" fmla="*/ 0 w 486410"/>
                  <a:gd name="connsiteY27" fmla="*/ 435942 h 557487"/>
                  <a:gd name="connsiteX28" fmla="*/ 121603 w 486410"/>
                  <a:gd name="connsiteY28" fmla="*/ 557487 h 557487"/>
                  <a:gd name="connsiteX29" fmla="*/ 196435 w 486410"/>
                  <a:gd name="connsiteY29" fmla="*/ 557487 h 557487"/>
                  <a:gd name="connsiteX30" fmla="*/ 255178 w 486410"/>
                  <a:gd name="connsiteY30" fmla="*/ 542341 h 557487"/>
                  <a:gd name="connsiteX31" fmla="*/ 308683 w 486410"/>
                  <a:gd name="connsiteY31" fmla="*/ 557487 h 557487"/>
                  <a:gd name="connsiteX32" fmla="*/ 383516 w 486410"/>
                  <a:gd name="connsiteY32" fmla="*/ 557487 h 557487"/>
                  <a:gd name="connsiteX33" fmla="*/ 486410 w 486410"/>
                  <a:gd name="connsiteY33" fmla="*/ 454641 h 557487"/>
                  <a:gd name="connsiteX34" fmla="*/ 486410 w 486410"/>
                  <a:gd name="connsiteY34" fmla="*/ 379844 h 557487"/>
                  <a:gd name="connsiteX35" fmla="*/ 383328 w 486410"/>
                  <a:gd name="connsiteY35" fmla="*/ 276998 h 557487"/>
                  <a:gd name="connsiteX36" fmla="*/ 196248 w 486410"/>
                  <a:gd name="connsiteY36" fmla="*/ 538788 h 557487"/>
                  <a:gd name="connsiteX37" fmla="*/ 121415 w 486410"/>
                  <a:gd name="connsiteY37" fmla="*/ 538788 h 557487"/>
                  <a:gd name="connsiteX38" fmla="*/ 18521 w 486410"/>
                  <a:gd name="connsiteY38" fmla="*/ 435942 h 557487"/>
                  <a:gd name="connsiteX39" fmla="*/ 18521 w 486410"/>
                  <a:gd name="connsiteY39" fmla="*/ 363015 h 557487"/>
                  <a:gd name="connsiteX40" fmla="*/ 41158 w 486410"/>
                  <a:gd name="connsiteY40" fmla="*/ 298876 h 557487"/>
                  <a:gd name="connsiteX41" fmla="*/ 78948 w 486410"/>
                  <a:gd name="connsiteY41" fmla="*/ 251380 h 557487"/>
                  <a:gd name="connsiteX42" fmla="*/ 93353 w 486410"/>
                  <a:gd name="connsiteY42" fmla="*/ 210865 h 557487"/>
                  <a:gd name="connsiteX43" fmla="*/ 93353 w 486410"/>
                  <a:gd name="connsiteY43" fmla="*/ 155453 h 557487"/>
                  <a:gd name="connsiteX44" fmla="*/ 140123 w 486410"/>
                  <a:gd name="connsiteY44" fmla="*/ 108705 h 557487"/>
                  <a:gd name="connsiteX45" fmla="*/ 149477 w 486410"/>
                  <a:gd name="connsiteY45" fmla="*/ 108705 h 557487"/>
                  <a:gd name="connsiteX46" fmla="*/ 149477 w 486410"/>
                  <a:gd name="connsiteY46" fmla="*/ 146103 h 557487"/>
                  <a:gd name="connsiteX47" fmla="*/ 168185 w 486410"/>
                  <a:gd name="connsiteY47" fmla="*/ 146103 h 557487"/>
                  <a:gd name="connsiteX48" fmla="*/ 168185 w 486410"/>
                  <a:gd name="connsiteY48" fmla="*/ 108705 h 557487"/>
                  <a:gd name="connsiteX49" fmla="*/ 177539 w 486410"/>
                  <a:gd name="connsiteY49" fmla="*/ 108705 h 557487"/>
                  <a:gd name="connsiteX50" fmla="*/ 224310 w 486410"/>
                  <a:gd name="connsiteY50" fmla="*/ 155453 h 557487"/>
                  <a:gd name="connsiteX51" fmla="*/ 224310 w 486410"/>
                  <a:gd name="connsiteY51" fmla="*/ 210865 h 557487"/>
                  <a:gd name="connsiteX52" fmla="*/ 238715 w 486410"/>
                  <a:gd name="connsiteY52" fmla="*/ 251630 h 557487"/>
                  <a:gd name="connsiteX53" fmla="*/ 266403 w 486410"/>
                  <a:gd name="connsiteY53" fmla="*/ 286410 h 557487"/>
                  <a:gd name="connsiteX54" fmla="*/ 205602 w 486410"/>
                  <a:gd name="connsiteY54" fmla="*/ 379906 h 557487"/>
                  <a:gd name="connsiteX55" fmla="*/ 205602 w 486410"/>
                  <a:gd name="connsiteY55" fmla="*/ 454703 h 557487"/>
                  <a:gd name="connsiteX56" fmla="*/ 238341 w 486410"/>
                  <a:gd name="connsiteY56" fmla="*/ 529874 h 557487"/>
                  <a:gd name="connsiteX57" fmla="*/ 196248 w 486410"/>
                  <a:gd name="connsiteY57" fmla="*/ 538788 h 557487"/>
                  <a:gd name="connsiteX58" fmla="*/ 467515 w 486410"/>
                  <a:gd name="connsiteY58" fmla="*/ 454641 h 557487"/>
                  <a:gd name="connsiteX59" fmla="*/ 383328 w 486410"/>
                  <a:gd name="connsiteY59" fmla="*/ 538788 h 557487"/>
                  <a:gd name="connsiteX60" fmla="*/ 308496 w 486410"/>
                  <a:gd name="connsiteY60" fmla="*/ 538788 h 557487"/>
                  <a:gd name="connsiteX61" fmla="*/ 272202 w 486410"/>
                  <a:gd name="connsiteY61" fmla="*/ 530560 h 557487"/>
                  <a:gd name="connsiteX62" fmla="*/ 255552 w 486410"/>
                  <a:gd name="connsiteY62" fmla="*/ 519901 h 557487"/>
                  <a:gd name="connsiteX63" fmla="*/ 224372 w 486410"/>
                  <a:gd name="connsiteY63" fmla="*/ 454641 h 557487"/>
                  <a:gd name="connsiteX64" fmla="*/ 224372 w 486410"/>
                  <a:gd name="connsiteY64" fmla="*/ 379844 h 557487"/>
                  <a:gd name="connsiteX65" fmla="*/ 278438 w 486410"/>
                  <a:gd name="connsiteY65" fmla="*/ 301307 h 557487"/>
                  <a:gd name="connsiteX66" fmla="*/ 297895 w 486410"/>
                  <a:gd name="connsiteY66" fmla="*/ 296445 h 557487"/>
                  <a:gd name="connsiteX67" fmla="*/ 308558 w 486410"/>
                  <a:gd name="connsiteY67" fmla="*/ 295697 h 557487"/>
                  <a:gd name="connsiteX68" fmla="*/ 336621 w 486410"/>
                  <a:gd name="connsiteY68" fmla="*/ 295697 h 557487"/>
                  <a:gd name="connsiteX69" fmla="*/ 336621 w 486410"/>
                  <a:gd name="connsiteY69" fmla="*/ 333096 h 557487"/>
                  <a:gd name="connsiteX70" fmla="*/ 355329 w 486410"/>
                  <a:gd name="connsiteY70" fmla="*/ 333096 h 557487"/>
                  <a:gd name="connsiteX71" fmla="*/ 355329 w 486410"/>
                  <a:gd name="connsiteY71" fmla="*/ 295697 h 557487"/>
                  <a:gd name="connsiteX72" fmla="*/ 383391 w 486410"/>
                  <a:gd name="connsiteY72" fmla="*/ 295697 h 557487"/>
                  <a:gd name="connsiteX73" fmla="*/ 467577 w 486410"/>
                  <a:gd name="connsiteY73" fmla="*/ 379844 h 557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486410" h="557487">
                    <a:moveTo>
                      <a:pt x="383328" y="276998"/>
                    </a:moveTo>
                    <a:lnTo>
                      <a:pt x="355266" y="276998"/>
                    </a:lnTo>
                    <a:lnTo>
                      <a:pt x="355266" y="233367"/>
                    </a:lnTo>
                    <a:cubicBezTo>
                      <a:pt x="355204" y="229118"/>
                      <a:pt x="353757" y="225004"/>
                      <a:pt x="351151" y="221648"/>
                    </a:cubicBezTo>
                    <a:lnTo>
                      <a:pt x="315792" y="177456"/>
                    </a:lnTo>
                    <a:lnTo>
                      <a:pt x="301138" y="189174"/>
                    </a:lnTo>
                    <a:lnTo>
                      <a:pt x="336558" y="233367"/>
                    </a:lnTo>
                    <a:lnTo>
                      <a:pt x="336558" y="276998"/>
                    </a:lnTo>
                    <a:lnTo>
                      <a:pt x="308496" y="276998"/>
                    </a:lnTo>
                    <a:cubicBezTo>
                      <a:pt x="300688" y="276993"/>
                      <a:pt x="292906" y="277871"/>
                      <a:pt x="285298" y="279616"/>
                    </a:cubicBezTo>
                    <a:lnTo>
                      <a:pt x="253307" y="239787"/>
                    </a:lnTo>
                    <a:cubicBezTo>
                      <a:pt x="246666" y="231608"/>
                      <a:pt x="243036" y="221399"/>
                      <a:pt x="243018" y="210865"/>
                    </a:cubicBezTo>
                    <a:lnTo>
                      <a:pt x="243018" y="155453"/>
                    </a:lnTo>
                    <a:cubicBezTo>
                      <a:pt x="242949" y="119336"/>
                      <a:pt x="213671" y="90074"/>
                      <a:pt x="177539" y="90006"/>
                    </a:cubicBezTo>
                    <a:lnTo>
                      <a:pt x="168185" y="90006"/>
                    </a:lnTo>
                    <a:lnTo>
                      <a:pt x="168185" y="55911"/>
                    </a:lnTo>
                    <a:lnTo>
                      <a:pt x="203544" y="11718"/>
                    </a:lnTo>
                    <a:lnTo>
                      <a:pt x="188889" y="0"/>
                    </a:lnTo>
                    <a:lnTo>
                      <a:pt x="153531" y="44255"/>
                    </a:lnTo>
                    <a:cubicBezTo>
                      <a:pt x="150899" y="47570"/>
                      <a:pt x="149471" y="51679"/>
                      <a:pt x="149477" y="55911"/>
                    </a:cubicBezTo>
                    <a:lnTo>
                      <a:pt x="149477" y="90006"/>
                    </a:lnTo>
                    <a:lnTo>
                      <a:pt x="140123" y="90006"/>
                    </a:lnTo>
                    <a:cubicBezTo>
                      <a:pt x="103973" y="90040"/>
                      <a:pt x="74676" y="119322"/>
                      <a:pt x="74645" y="155453"/>
                    </a:cubicBezTo>
                    <a:lnTo>
                      <a:pt x="74645" y="210865"/>
                    </a:lnTo>
                    <a:cubicBezTo>
                      <a:pt x="74651" y="221371"/>
                      <a:pt x="71090" y="231568"/>
                      <a:pt x="64543" y="239787"/>
                    </a:cubicBezTo>
                    <a:lnTo>
                      <a:pt x="26565" y="287096"/>
                    </a:lnTo>
                    <a:cubicBezTo>
                      <a:pt x="9423" y="308699"/>
                      <a:pt x="69" y="335443"/>
                      <a:pt x="0" y="363015"/>
                    </a:cubicBezTo>
                    <a:lnTo>
                      <a:pt x="0" y="435942"/>
                    </a:lnTo>
                    <a:cubicBezTo>
                      <a:pt x="137" y="503012"/>
                      <a:pt x="54503" y="557350"/>
                      <a:pt x="121603" y="557487"/>
                    </a:cubicBezTo>
                    <a:lnTo>
                      <a:pt x="196435" y="557487"/>
                    </a:lnTo>
                    <a:cubicBezTo>
                      <a:pt x="216989" y="557537"/>
                      <a:pt x="237212" y="552320"/>
                      <a:pt x="255178" y="542341"/>
                    </a:cubicBezTo>
                    <a:cubicBezTo>
                      <a:pt x="271267" y="552247"/>
                      <a:pt x="289788" y="557493"/>
                      <a:pt x="308683" y="557487"/>
                    </a:cubicBezTo>
                    <a:lnTo>
                      <a:pt x="383516" y="557487"/>
                    </a:lnTo>
                    <a:cubicBezTo>
                      <a:pt x="440288" y="557350"/>
                      <a:pt x="486273" y="511385"/>
                      <a:pt x="486410" y="454641"/>
                    </a:cubicBezTo>
                    <a:lnTo>
                      <a:pt x="486410" y="379844"/>
                    </a:lnTo>
                    <a:cubicBezTo>
                      <a:pt x="486273" y="323028"/>
                      <a:pt x="440170" y="277032"/>
                      <a:pt x="383328" y="276998"/>
                    </a:cubicBezTo>
                    <a:close/>
                    <a:moveTo>
                      <a:pt x="196248" y="538788"/>
                    </a:moveTo>
                    <a:lnTo>
                      <a:pt x="121415" y="538788"/>
                    </a:lnTo>
                    <a:cubicBezTo>
                      <a:pt x="64618" y="538719"/>
                      <a:pt x="18589" y="492713"/>
                      <a:pt x="18521" y="435942"/>
                    </a:cubicBezTo>
                    <a:lnTo>
                      <a:pt x="18521" y="363015"/>
                    </a:lnTo>
                    <a:cubicBezTo>
                      <a:pt x="18527" y="339681"/>
                      <a:pt x="26515" y="317049"/>
                      <a:pt x="41158" y="298876"/>
                    </a:cubicBezTo>
                    <a:lnTo>
                      <a:pt x="78948" y="251380"/>
                    </a:lnTo>
                    <a:cubicBezTo>
                      <a:pt x="88227" y="239911"/>
                      <a:pt x="93316" y="225617"/>
                      <a:pt x="93353" y="210865"/>
                    </a:cubicBezTo>
                    <a:lnTo>
                      <a:pt x="93353" y="155453"/>
                    </a:lnTo>
                    <a:cubicBezTo>
                      <a:pt x="93353" y="129635"/>
                      <a:pt x="114294" y="108705"/>
                      <a:pt x="140123" y="108705"/>
                    </a:cubicBezTo>
                    <a:lnTo>
                      <a:pt x="149477" y="108705"/>
                    </a:lnTo>
                    <a:lnTo>
                      <a:pt x="149477" y="146103"/>
                    </a:lnTo>
                    <a:lnTo>
                      <a:pt x="168185" y="146103"/>
                    </a:lnTo>
                    <a:lnTo>
                      <a:pt x="168185" y="108705"/>
                    </a:lnTo>
                    <a:lnTo>
                      <a:pt x="177539" y="108705"/>
                    </a:lnTo>
                    <a:cubicBezTo>
                      <a:pt x="203369" y="108705"/>
                      <a:pt x="224310" y="129635"/>
                      <a:pt x="224310" y="155453"/>
                    </a:cubicBezTo>
                    <a:lnTo>
                      <a:pt x="224310" y="210865"/>
                    </a:lnTo>
                    <a:cubicBezTo>
                      <a:pt x="224260" y="225707"/>
                      <a:pt x="229355" y="240110"/>
                      <a:pt x="238715" y="251630"/>
                    </a:cubicBezTo>
                    <a:lnTo>
                      <a:pt x="266403" y="286410"/>
                    </a:lnTo>
                    <a:cubicBezTo>
                      <a:pt x="229492" y="302898"/>
                      <a:pt x="205689" y="339496"/>
                      <a:pt x="205602" y="379906"/>
                    </a:cubicBezTo>
                    <a:lnTo>
                      <a:pt x="205602" y="454703"/>
                    </a:lnTo>
                    <a:cubicBezTo>
                      <a:pt x="205602" y="483216"/>
                      <a:pt x="217462" y="510445"/>
                      <a:pt x="238341" y="529874"/>
                    </a:cubicBezTo>
                    <a:cubicBezTo>
                      <a:pt x="225114" y="535829"/>
                      <a:pt x="210759" y="538868"/>
                      <a:pt x="196248" y="538788"/>
                    </a:cubicBezTo>
                    <a:close/>
                    <a:moveTo>
                      <a:pt x="467515" y="454641"/>
                    </a:moveTo>
                    <a:cubicBezTo>
                      <a:pt x="467446" y="501086"/>
                      <a:pt x="429793" y="538719"/>
                      <a:pt x="383328" y="538788"/>
                    </a:cubicBezTo>
                    <a:lnTo>
                      <a:pt x="308496" y="538788"/>
                    </a:lnTo>
                    <a:cubicBezTo>
                      <a:pt x="295937" y="538801"/>
                      <a:pt x="283527" y="535988"/>
                      <a:pt x="272202" y="530560"/>
                    </a:cubicBezTo>
                    <a:cubicBezTo>
                      <a:pt x="266191" y="527781"/>
                      <a:pt x="260591" y="524195"/>
                      <a:pt x="255552" y="519901"/>
                    </a:cubicBezTo>
                    <a:cubicBezTo>
                      <a:pt x="235765" y="504024"/>
                      <a:pt x="224291" y="480003"/>
                      <a:pt x="224372" y="454641"/>
                    </a:cubicBezTo>
                    <a:lnTo>
                      <a:pt x="224372" y="379844"/>
                    </a:lnTo>
                    <a:cubicBezTo>
                      <a:pt x="224422" y="345012"/>
                      <a:pt x="245911" y="313802"/>
                      <a:pt x="278438" y="301307"/>
                    </a:cubicBezTo>
                    <a:cubicBezTo>
                      <a:pt x="284674" y="298821"/>
                      <a:pt x="291222" y="297186"/>
                      <a:pt x="297895" y="296445"/>
                    </a:cubicBezTo>
                    <a:cubicBezTo>
                      <a:pt x="301418" y="295882"/>
                      <a:pt x="304991" y="295632"/>
                      <a:pt x="308558" y="295697"/>
                    </a:cubicBezTo>
                    <a:lnTo>
                      <a:pt x="336621" y="295697"/>
                    </a:lnTo>
                    <a:lnTo>
                      <a:pt x="336621" y="333096"/>
                    </a:lnTo>
                    <a:lnTo>
                      <a:pt x="355329" y="333096"/>
                    </a:lnTo>
                    <a:lnTo>
                      <a:pt x="355329" y="295697"/>
                    </a:lnTo>
                    <a:lnTo>
                      <a:pt x="383391" y="295697"/>
                    </a:lnTo>
                    <a:cubicBezTo>
                      <a:pt x="429855" y="295766"/>
                      <a:pt x="467509" y="333399"/>
                      <a:pt x="467577" y="3798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8FE381A3-87E0-EE4F-9AA2-B97F06D903DB}"/>
                  </a:ext>
                </a:extLst>
              </p:cNvPr>
              <p:cNvSpPr/>
              <p:nvPr/>
            </p:nvSpPr>
            <p:spPr>
              <a:xfrm>
                <a:off x="7390723" y="1260572"/>
                <a:ext cx="18708" cy="93496"/>
              </a:xfrm>
              <a:custGeom>
                <a:avLst/>
                <a:gdLst>
                  <a:gd name="connsiteX0" fmla="*/ 0 w 18708"/>
                  <a:gd name="connsiteY0" fmla="*/ 0 h 93496"/>
                  <a:gd name="connsiteX1" fmla="*/ 18708 w 18708"/>
                  <a:gd name="connsiteY1" fmla="*/ 0 h 93496"/>
                  <a:gd name="connsiteX2" fmla="*/ 18708 w 18708"/>
                  <a:gd name="connsiteY2" fmla="*/ 93496 h 93496"/>
                  <a:gd name="connsiteX3" fmla="*/ 0 w 18708"/>
                  <a:gd name="connsiteY3" fmla="*/ 93496 h 93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93496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93496"/>
                    </a:lnTo>
                    <a:lnTo>
                      <a:pt x="0" y="93496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</p:grpSp>
        <p:grpSp>
          <p:nvGrpSpPr>
            <p:cNvPr id="64" name="Graphic 6">
              <a:extLst>
                <a:ext uri="{FF2B5EF4-FFF2-40B4-BE49-F238E27FC236}">
                  <a16:creationId xmlns:a16="http://schemas.microsoft.com/office/drawing/2014/main" id="{8AA021C3-9517-6944-ABA4-B344304DD10E}"/>
                </a:ext>
              </a:extLst>
            </p:cNvPr>
            <p:cNvGrpSpPr/>
            <p:nvPr/>
          </p:nvGrpSpPr>
          <p:grpSpPr>
            <a:xfrm>
              <a:off x="8321513" y="3224803"/>
              <a:ext cx="646177" cy="415062"/>
              <a:chOff x="8321513" y="3224803"/>
              <a:chExt cx="646177" cy="415062"/>
            </a:xfrm>
            <a:solidFill>
              <a:srgbClr val="FFFFFF"/>
            </a:solidFill>
          </p:grpSpPr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CAF92EFC-99BF-7347-B8BD-B4B6B2BB251C}"/>
                  </a:ext>
                </a:extLst>
              </p:cNvPr>
              <p:cNvSpPr/>
              <p:nvPr/>
            </p:nvSpPr>
            <p:spPr>
              <a:xfrm>
                <a:off x="8321513" y="3224803"/>
                <a:ext cx="646177" cy="272199"/>
              </a:xfrm>
              <a:custGeom>
                <a:avLst/>
                <a:gdLst>
                  <a:gd name="connsiteX0" fmla="*/ 609696 w 646177"/>
                  <a:gd name="connsiteY0" fmla="*/ 272200 h 272199"/>
                  <a:gd name="connsiteX1" fmla="*/ 534490 w 646177"/>
                  <a:gd name="connsiteY1" fmla="*/ 272200 h 272199"/>
                  <a:gd name="connsiteX2" fmla="*/ 534490 w 646177"/>
                  <a:gd name="connsiteY2" fmla="*/ 253501 h 272199"/>
                  <a:gd name="connsiteX3" fmla="*/ 609696 w 646177"/>
                  <a:gd name="connsiteY3" fmla="*/ 253501 h 272199"/>
                  <a:gd name="connsiteX4" fmla="*/ 627469 w 646177"/>
                  <a:gd name="connsiteY4" fmla="*/ 235487 h 272199"/>
                  <a:gd name="connsiteX5" fmla="*/ 627469 w 646177"/>
                  <a:gd name="connsiteY5" fmla="*/ 97611 h 272199"/>
                  <a:gd name="connsiteX6" fmla="*/ 608387 w 646177"/>
                  <a:gd name="connsiteY6" fmla="*/ 78538 h 272199"/>
                  <a:gd name="connsiteX7" fmla="*/ 518338 w 646177"/>
                  <a:gd name="connsiteY7" fmla="*/ 78538 h 272199"/>
                  <a:gd name="connsiteX8" fmla="*/ 452923 w 646177"/>
                  <a:gd name="connsiteY8" fmla="*/ 23313 h 272199"/>
                  <a:gd name="connsiteX9" fmla="*/ 436397 w 646177"/>
                  <a:gd name="connsiteY9" fmla="*/ 18700 h 272199"/>
                  <a:gd name="connsiteX10" fmla="*/ 209967 w 646177"/>
                  <a:gd name="connsiteY10" fmla="*/ 18700 h 272199"/>
                  <a:gd name="connsiteX11" fmla="*/ 192818 w 646177"/>
                  <a:gd name="connsiteY11" fmla="*/ 23812 h 272199"/>
                  <a:gd name="connsiteX12" fmla="*/ 128025 w 646177"/>
                  <a:gd name="connsiteY12" fmla="*/ 78538 h 272199"/>
                  <a:gd name="connsiteX13" fmla="*/ 36730 w 646177"/>
                  <a:gd name="connsiteY13" fmla="*/ 78538 h 272199"/>
                  <a:gd name="connsiteX14" fmla="*/ 18708 w 646177"/>
                  <a:gd name="connsiteY14" fmla="*/ 96302 h 272199"/>
                  <a:gd name="connsiteX15" fmla="*/ 18708 w 646177"/>
                  <a:gd name="connsiteY15" fmla="*/ 235487 h 272199"/>
                  <a:gd name="connsiteX16" fmla="*/ 36730 w 646177"/>
                  <a:gd name="connsiteY16" fmla="*/ 253501 h 272199"/>
                  <a:gd name="connsiteX17" fmla="*/ 127402 w 646177"/>
                  <a:gd name="connsiteY17" fmla="*/ 253501 h 272199"/>
                  <a:gd name="connsiteX18" fmla="*/ 127402 w 646177"/>
                  <a:gd name="connsiteY18" fmla="*/ 272200 h 272199"/>
                  <a:gd name="connsiteX19" fmla="*/ 36730 w 646177"/>
                  <a:gd name="connsiteY19" fmla="*/ 272200 h 272199"/>
                  <a:gd name="connsiteX20" fmla="*/ 0 w 646177"/>
                  <a:gd name="connsiteY20" fmla="*/ 235487 h 272199"/>
                  <a:gd name="connsiteX21" fmla="*/ 0 w 646177"/>
                  <a:gd name="connsiteY21" fmla="*/ 96302 h 272199"/>
                  <a:gd name="connsiteX22" fmla="*/ 36730 w 646177"/>
                  <a:gd name="connsiteY22" fmla="*/ 59839 h 272199"/>
                  <a:gd name="connsiteX23" fmla="*/ 36730 w 646177"/>
                  <a:gd name="connsiteY23" fmla="*/ 59839 h 272199"/>
                  <a:gd name="connsiteX24" fmla="*/ 121228 w 646177"/>
                  <a:gd name="connsiteY24" fmla="*/ 59839 h 272199"/>
                  <a:gd name="connsiteX25" fmla="*/ 181406 w 646177"/>
                  <a:gd name="connsiteY25" fmla="*/ 9039 h 272199"/>
                  <a:gd name="connsiteX26" fmla="*/ 209967 w 646177"/>
                  <a:gd name="connsiteY26" fmla="*/ 1 h 272199"/>
                  <a:gd name="connsiteX27" fmla="*/ 436397 w 646177"/>
                  <a:gd name="connsiteY27" fmla="*/ 1 h 272199"/>
                  <a:gd name="connsiteX28" fmla="*/ 464335 w 646177"/>
                  <a:gd name="connsiteY28" fmla="*/ 8540 h 272199"/>
                  <a:gd name="connsiteX29" fmla="*/ 525136 w 646177"/>
                  <a:gd name="connsiteY29" fmla="*/ 59839 h 272199"/>
                  <a:gd name="connsiteX30" fmla="*/ 608387 w 646177"/>
                  <a:gd name="connsiteY30" fmla="*/ 59839 h 272199"/>
                  <a:gd name="connsiteX31" fmla="*/ 646177 w 646177"/>
                  <a:gd name="connsiteY31" fmla="*/ 97611 h 272199"/>
                  <a:gd name="connsiteX32" fmla="*/ 646177 w 646177"/>
                  <a:gd name="connsiteY32" fmla="*/ 235487 h 272199"/>
                  <a:gd name="connsiteX33" fmla="*/ 609696 w 646177"/>
                  <a:gd name="connsiteY33" fmla="*/ 272200 h 272199"/>
                  <a:gd name="connsiteX34" fmla="*/ 609696 w 646177"/>
                  <a:gd name="connsiteY34" fmla="*/ 272200 h 272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46177" h="272199">
                    <a:moveTo>
                      <a:pt x="609696" y="272200"/>
                    </a:moveTo>
                    <a:lnTo>
                      <a:pt x="534490" y="272200"/>
                    </a:lnTo>
                    <a:lnTo>
                      <a:pt x="534490" y="253501"/>
                    </a:lnTo>
                    <a:lnTo>
                      <a:pt x="609696" y="253501"/>
                    </a:lnTo>
                    <a:cubicBezTo>
                      <a:pt x="619568" y="253401"/>
                      <a:pt x="627506" y="245354"/>
                      <a:pt x="627469" y="235487"/>
                    </a:cubicBezTo>
                    <a:lnTo>
                      <a:pt x="627469" y="97611"/>
                    </a:lnTo>
                    <a:cubicBezTo>
                      <a:pt x="627469" y="87077"/>
                      <a:pt x="618926" y="78538"/>
                      <a:pt x="608387" y="78538"/>
                    </a:cubicBezTo>
                    <a:lnTo>
                      <a:pt x="518338" y="78538"/>
                    </a:lnTo>
                    <a:lnTo>
                      <a:pt x="452923" y="23313"/>
                    </a:lnTo>
                    <a:cubicBezTo>
                      <a:pt x="447977" y="20203"/>
                      <a:pt x="442240" y="18601"/>
                      <a:pt x="436397" y="18700"/>
                    </a:cubicBezTo>
                    <a:lnTo>
                      <a:pt x="209967" y="18700"/>
                    </a:lnTo>
                    <a:cubicBezTo>
                      <a:pt x="203862" y="18619"/>
                      <a:pt x="197882" y="20402"/>
                      <a:pt x="192818" y="23812"/>
                    </a:cubicBezTo>
                    <a:lnTo>
                      <a:pt x="128025" y="78538"/>
                    </a:lnTo>
                    <a:lnTo>
                      <a:pt x="36730" y="78538"/>
                    </a:lnTo>
                    <a:cubicBezTo>
                      <a:pt x="26859" y="78501"/>
                      <a:pt x="18808" y="86435"/>
                      <a:pt x="18708" y="96302"/>
                    </a:cubicBezTo>
                    <a:lnTo>
                      <a:pt x="18708" y="235487"/>
                    </a:lnTo>
                    <a:cubicBezTo>
                      <a:pt x="18739" y="245423"/>
                      <a:pt x="26790" y="253470"/>
                      <a:pt x="36730" y="253501"/>
                    </a:cubicBezTo>
                    <a:lnTo>
                      <a:pt x="127402" y="253501"/>
                    </a:lnTo>
                    <a:lnTo>
                      <a:pt x="127402" y="272200"/>
                    </a:lnTo>
                    <a:lnTo>
                      <a:pt x="36730" y="272200"/>
                    </a:lnTo>
                    <a:cubicBezTo>
                      <a:pt x="16445" y="272200"/>
                      <a:pt x="0" y="255763"/>
                      <a:pt x="0" y="235487"/>
                    </a:cubicBezTo>
                    <a:lnTo>
                      <a:pt x="0" y="96302"/>
                    </a:lnTo>
                    <a:cubicBezTo>
                      <a:pt x="69" y="76095"/>
                      <a:pt x="16513" y="59770"/>
                      <a:pt x="36730" y="59839"/>
                    </a:cubicBezTo>
                    <a:cubicBezTo>
                      <a:pt x="36730" y="59839"/>
                      <a:pt x="36730" y="59839"/>
                      <a:pt x="36730" y="59839"/>
                    </a:cubicBezTo>
                    <a:lnTo>
                      <a:pt x="121228" y="59839"/>
                    </a:lnTo>
                    <a:lnTo>
                      <a:pt x="181406" y="9039"/>
                    </a:lnTo>
                    <a:cubicBezTo>
                      <a:pt x="189750" y="3130"/>
                      <a:pt x="199740" y="-30"/>
                      <a:pt x="209967" y="1"/>
                    </a:cubicBezTo>
                    <a:lnTo>
                      <a:pt x="436397" y="1"/>
                    </a:lnTo>
                    <a:cubicBezTo>
                      <a:pt x="446362" y="-67"/>
                      <a:pt x="456109" y="2912"/>
                      <a:pt x="464335" y="8540"/>
                    </a:cubicBezTo>
                    <a:lnTo>
                      <a:pt x="525136" y="59839"/>
                    </a:lnTo>
                    <a:lnTo>
                      <a:pt x="608387" y="59839"/>
                    </a:lnTo>
                    <a:cubicBezTo>
                      <a:pt x="629246" y="59870"/>
                      <a:pt x="646146" y="76762"/>
                      <a:pt x="646177" y="97611"/>
                    </a:cubicBezTo>
                    <a:lnTo>
                      <a:pt x="646177" y="235487"/>
                    </a:lnTo>
                    <a:cubicBezTo>
                      <a:pt x="646246" y="255695"/>
                      <a:pt x="629914" y="272131"/>
                      <a:pt x="609696" y="272200"/>
                    </a:cubicBezTo>
                    <a:cubicBezTo>
                      <a:pt x="609696" y="272200"/>
                      <a:pt x="609696" y="272200"/>
                      <a:pt x="609696" y="2722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05A24D68-36EA-D347-AEDA-E9E8D88CE6A8}"/>
                  </a:ext>
                </a:extLst>
              </p:cNvPr>
              <p:cNvSpPr/>
              <p:nvPr/>
            </p:nvSpPr>
            <p:spPr>
              <a:xfrm>
                <a:off x="8518240" y="3227484"/>
                <a:ext cx="339381" cy="407705"/>
              </a:xfrm>
              <a:custGeom>
                <a:avLst/>
                <a:gdLst>
                  <a:gd name="connsiteX0" fmla="*/ 188097 w 339381"/>
                  <a:gd name="connsiteY0" fmla="*/ 407706 h 407705"/>
                  <a:gd name="connsiteX1" fmla="*/ 162030 w 339381"/>
                  <a:gd name="connsiteY1" fmla="*/ 397047 h 407705"/>
                  <a:gd name="connsiteX2" fmla="*/ 119127 w 339381"/>
                  <a:gd name="connsiteY2" fmla="*/ 354662 h 407705"/>
                  <a:gd name="connsiteX3" fmla="*/ 131599 w 339381"/>
                  <a:gd name="connsiteY3" fmla="*/ 340950 h 407705"/>
                  <a:gd name="connsiteX4" fmla="*/ 175251 w 339381"/>
                  <a:gd name="connsiteY4" fmla="*/ 383771 h 407705"/>
                  <a:gd name="connsiteX5" fmla="*/ 201131 w 339381"/>
                  <a:gd name="connsiteY5" fmla="*/ 383771 h 407705"/>
                  <a:gd name="connsiteX6" fmla="*/ 315375 w 339381"/>
                  <a:gd name="connsiteY6" fmla="*/ 269269 h 407705"/>
                  <a:gd name="connsiteX7" fmla="*/ 320800 w 339381"/>
                  <a:gd name="connsiteY7" fmla="*/ 256304 h 407705"/>
                  <a:gd name="connsiteX8" fmla="*/ 315375 w 339381"/>
                  <a:gd name="connsiteY8" fmla="*/ 243339 h 407705"/>
                  <a:gd name="connsiteX9" fmla="*/ 180926 w 339381"/>
                  <a:gd name="connsiteY9" fmla="*/ 108705 h 407705"/>
                  <a:gd name="connsiteX10" fmla="*/ 128917 w 339381"/>
                  <a:gd name="connsiteY10" fmla="*/ 108705 h 407705"/>
                  <a:gd name="connsiteX11" fmla="*/ 117942 w 339381"/>
                  <a:gd name="connsiteY11" fmla="*/ 119800 h 407705"/>
                  <a:gd name="connsiteX12" fmla="*/ 14424 w 339381"/>
                  <a:gd name="connsiteY12" fmla="*/ 119800 h 407705"/>
                  <a:gd name="connsiteX13" fmla="*/ 6566 w 339381"/>
                  <a:gd name="connsiteY13" fmla="*/ 111759 h 407705"/>
                  <a:gd name="connsiteX14" fmla="*/ 6548 w 339381"/>
                  <a:gd name="connsiteY14" fmla="*/ 80114 h 407705"/>
                  <a:gd name="connsiteX15" fmla="*/ 6566 w 339381"/>
                  <a:gd name="connsiteY15" fmla="*/ 80095 h 407705"/>
                  <a:gd name="connsiteX16" fmla="*/ 86700 w 339381"/>
                  <a:gd name="connsiteY16" fmla="*/ 0 h 407705"/>
                  <a:gd name="connsiteX17" fmla="*/ 99920 w 339381"/>
                  <a:gd name="connsiteY17" fmla="*/ 13214 h 407705"/>
                  <a:gd name="connsiteX18" fmla="*/ 19787 w 339381"/>
                  <a:gd name="connsiteY18" fmla="*/ 93371 h 407705"/>
                  <a:gd name="connsiteX19" fmla="*/ 19787 w 339381"/>
                  <a:gd name="connsiteY19" fmla="*/ 98607 h 407705"/>
                  <a:gd name="connsiteX20" fmla="*/ 27644 w 339381"/>
                  <a:gd name="connsiteY20" fmla="*/ 106586 h 407705"/>
                  <a:gd name="connsiteX21" fmla="*/ 104659 w 339381"/>
                  <a:gd name="connsiteY21" fmla="*/ 106586 h 407705"/>
                  <a:gd name="connsiteX22" fmla="*/ 120998 w 339381"/>
                  <a:gd name="connsiteY22" fmla="*/ 90006 h 407705"/>
                  <a:gd name="connsiteX23" fmla="*/ 188658 w 339381"/>
                  <a:gd name="connsiteY23" fmla="*/ 90006 h 407705"/>
                  <a:gd name="connsiteX24" fmla="*/ 328657 w 339381"/>
                  <a:gd name="connsiteY24" fmla="*/ 230063 h 407705"/>
                  <a:gd name="connsiteX25" fmla="*/ 328657 w 339381"/>
                  <a:gd name="connsiteY25" fmla="*/ 282483 h 407705"/>
                  <a:gd name="connsiteX26" fmla="*/ 214164 w 339381"/>
                  <a:gd name="connsiteY26" fmla="*/ 396985 h 407705"/>
                  <a:gd name="connsiteX27" fmla="*/ 188097 w 339381"/>
                  <a:gd name="connsiteY27" fmla="*/ 407706 h 407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39381" h="407705">
                    <a:moveTo>
                      <a:pt x="188097" y="407706"/>
                    </a:moveTo>
                    <a:cubicBezTo>
                      <a:pt x="178350" y="407681"/>
                      <a:pt x="168996" y="403860"/>
                      <a:pt x="162030" y="397047"/>
                    </a:cubicBezTo>
                    <a:lnTo>
                      <a:pt x="119127" y="354662"/>
                    </a:lnTo>
                    <a:lnTo>
                      <a:pt x="131599" y="340950"/>
                    </a:lnTo>
                    <a:lnTo>
                      <a:pt x="175251" y="383771"/>
                    </a:lnTo>
                    <a:cubicBezTo>
                      <a:pt x="182485" y="390696"/>
                      <a:pt x="193897" y="390696"/>
                      <a:pt x="201131" y="383771"/>
                    </a:cubicBezTo>
                    <a:lnTo>
                      <a:pt x="315375" y="269269"/>
                    </a:lnTo>
                    <a:cubicBezTo>
                      <a:pt x="318842" y="265841"/>
                      <a:pt x="320794" y="261178"/>
                      <a:pt x="320800" y="256304"/>
                    </a:cubicBezTo>
                    <a:cubicBezTo>
                      <a:pt x="320812" y="251430"/>
                      <a:pt x="318861" y="246755"/>
                      <a:pt x="315375" y="243339"/>
                    </a:cubicBezTo>
                    <a:lnTo>
                      <a:pt x="180926" y="108705"/>
                    </a:lnTo>
                    <a:lnTo>
                      <a:pt x="128917" y="108705"/>
                    </a:lnTo>
                    <a:lnTo>
                      <a:pt x="117942" y="119800"/>
                    </a:lnTo>
                    <a:cubicBezTo>
                      <a:pt x="89256" y="148129"/>
                      <a:pt x="43110" y="148129"/>
                      <a:pt x="14424" y="119800"/>
                    </a:cubicBezTo>
                    <a:lnTo>
                      <a:pt x="6566" y="111759"/>
                    </a:lnTo>
                    <a:cubicBezTo>
                      <a:pt x="-2182" y="103027"/>
                      <a:pt x="-2189" y="88859"/>
                      <a:pt x="6548" y="80114"/>
                    </a:cubicBezTo>
                    <a:cubicBezTo>
                      <a:pt x="6554" y="80108"/>
                      <a:pt x="6560" y="80101"/>
                      <a:pt x="6566" y="80095"/>
                    </a:cubicBezTo>
                    <a:lnTo>
                      <a:pt x="86700" y="0"/>
                    </a:lnTo>
                    <a:lnTo>
                      <a:pt x="99920" y="13214"/>
                    </a:lnTo>
                    <a:lnTo>
                      <a:pt x="19787" y="93371"/>
                    </a:lnTo>
                    <a:cubicBezTo>
                      <a:pt x="18533" y="94892"/>
                      <a:pt x="18533" y="97086"/>
                      <a:pt x="19787" y="98607"/>
                    </a:cubicBezTo>
                    <a:lnTo>
                      <a:pt x="27644" y="106586"/>
                    </a:lnTo>
                    <a:cubicBezTo>
                      <a:pt x="48990" y="127647"/>
                      <a:pt x="83313" y="127647"/>
                      <a:pt x="104659" y="106586"/>
                    </a:cubicBezTo>
                    <a:lnTo>
                      <a:pt x="120998" y="90006"/>
                    </a:lnTo>
                    <a:lnTo>
                      <a:pt x="188658" y="90006"/>
                    </a:lnTo>
                    <a:lnTo>
                      <a:pt x="328657" y="230063"/>
                    </a:lnTo>
                    <a:cubicBezTo>
                      <a:pt x="342956" y="244611"/>
                      <a:pt x="342956" y="267935"/>
                      <a:pt x="328657" y="282483"/>
                    </a:cubicBezTo>
                    <a:lnTo>
                      <a:pt x="214164" y="396985"/>
                    </a:lnTo>
                    <a:cubicBezTo>
                      <a:pt x="207242" y="403872"/>
                      <a:pt x="197863" y="407731"/>
                      <a:pt x="188097" y="4077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grpSp>
            <p:nvGrpSpPr>
              <p:cNvPr id="67" name="Graphic 6">
                <a:extLst>
                  <a:ext uri="{FF2B5EF4-FFF2-40B4-BE49-F238E27FC236}">
                    <a16:creationId xmlns:a16="http://schemas.microsoft.com/office/drawing/2014/main" id="{8AA021C3-9517-6944-ABA4-B344304DD10E}"/>
                  </a:ext>
                </a:extLst>
              </p:cNvPr>
              <p:cNvGrpSpPr/>
              <p:nvPr/>
            </p:nvGrpSpPr>
            <p:grpSpPr>
              <a:xfrm>
                <a:off x="8439573" y="3425322"/>
                <a:ext cx="214690" cy="214543"/>
                <a:chOff x="8439573" y="3425322"/>
                <a:chExt cx="214690" cy="214543"/>
              </a:xfrm>
              <a:solidFill>
                <a:srgbClr val="FFFFFF"/>
              </a:solidFill>
            </p:grpSpPr>
            <p:sp>
              <p:nvSpPr>
                <p:cNvPr id="68" name="Freeform 67">
                  <a:extLst>
                    <a:ext uri="{FF2B5EF4-FFF2-40B4-BE49-F238E27FC236}">
                      <a16:creationId xmlns:a16="http://schemas.microsoft.com/office/drawing/2014/main" id="{A359D030-50FA-ED4B-8096-E162363E1BED}"/>
                    </a:ext>
                  </a:extLst>
                </p:cNvPr>
                <p:cNvSpPr/>
                <p:nvPr/>
              </p:nvSpPr>
              <p:spPr>
                <a:xfrm>
                  <a:off x="8439573" y="3425322"/>
                  <a:ext cx="214690" cy="214543"/>
                </a:xfrm>
                <a:custGeom>
                  <a:avLst/>
                  <a:gdLst>
                    <a:gd name="connsiteX0" fmla="*/ 152334 w 214690"/>
                    <a:gd name="connsiteY0" fmla="*/ 214543 h 214543"/>
                    <a:gd name="connsiteX1" fmla="*/ 126080 w 214690"/>
                    <a:gd name="connsiteY1" fmla="*/ 203697 h 214543"/>
                    <a:gd name="connsiteX2" fmla="*/ 10901 w 214690"/>
                    <a:gd name="connsiteY2" fmla="*/ 88510 h 214543"/>
                    <a:gd name="connsiteX3" fmla="*/ 10726 w 214690"/>
                    <a:gd name="connsiteY3" fmla="*/ 36327 h 214543"/>
                    <a:gd name="connsiteX4" fmla="*/ 10901 w 214690"/>
                    <a:gd name="connsiteY4" fmla="*/ 36152 h 214543"/>
                    <a:gd name="connsiteX5" fmla="*/ 27488 w 214690"/>
                    <a:gd name="connsiteY5" fmla="*/ 19510 h 214543"/>
                    <a:gd name="connsiteX6" fmla="*/ 74571 w 214690"/>
                    <a:gd name="connsiteY6" fmla="*/ 0 h 214543"/>
                    <a:gd name="connsiteX7" fmla="*/ 74571 w 214690"/>
                    <a:gd name="connsiteY7" fmla="*/ 0 h 214543"/>
                    <a:gd name="connsiteX8" fmla="*/ 121590 w 214690"/>
                    <a:gd name="connsiteY8" fmla="*/ 19510 h 214543"/>
                    <a:gd name="connsiteX9" fmla="*/ 195113 w 214690"/>
                    <a:gd name="connsiteY9" fmla="*/ 92998 h 214543"/>
                    <a:gd name="connsiteX10" fmla="*/ 200601 w 214690"/>
                    <a:gd name="connsiteY10" fmla="*/ 99231 h 214543"/>
                    <a:gd name="connsiteX11" fmla="*/ 213634 w 214690"/>
                    <a:gd name="connsiteY11" fmla="*/ 151651 h 214543"/>
                    <a:gd name="connsiteX12" fmla="*/ 213634 w 214690"/>
                    <a:gd name="connsiteY12" fmla="*/ 151651 h 214543"/>
                    <a:gd name="connsiteX13" fmla="*/ 194926 w 214690"/>
                    <a:gd name="connsiteY13" fmla="*/ 186868 h 214543"/>
                    <a:gd name="connsiteX14" fmla="*/ 178338 w 214690"/>
                    <a:gd name="connsiteY14" fmla="*/ 203448 h 214543"/>
                    <a:gd name="connsiteX15" fmla="*/ 152334 w 214690"/>
                    <a:gd name="connsiteY15" fmla="*/ 214543 h 214543"/>
                    <a:gd name="connsiteX16" fmla="*/ 74571 w 214690"/>
                    <a:gd name="connsiteY16" fmla="*/ 18700 h 214543"/>
                    <a:gd name="connsiteX17" fmla="*/ 40709 w 214690"/>
                    <a:gd name="connsiteY17" fmla="*/ 32724 h 214543"/>
                    <a:gd name="connsiteX18" fmla="*/ 24121 w 214690"/>
                    <a:gd name="connsiteY18" fmla="*/ 49366 h 214543"/>
                    <a:gd name="connsiteX19" fmla="*/ 18696 w 214690"/>
                    <a:gd name="connsiteY19" fmla="*/ 62331 h 214543"/>
                    <a:gd name="connsiteX20" fmla="*/ 24121 w 214690"/>
                    <a:gd name="connsiteY20" fmla="*/ 75296 h 214543"/>
                    <a:gd name="connsiteX21" fmla="*/ 139301 w 214690"/>
                    <a:gd name="connsiteY21" fmla="*/ 190483 h 214543"/>
                    <a:gd name="connsiteX22" fmla="*/ 165305 w 214690"/>
                    <a:gd name="connsiteY22" fmla="*/ 190483 h 214543"/>
                    <a:gd name="connsiteX23" fmla="*/ 182017 w 214690"/>
                    <a:gd name="connsiteY23" fmla="*/ 173841 h 214543"/>
                    <a:gd name="connsiteX24" fmla="*/ 185759 w 214690"/>
                    <a:gd name="connsiteY24" fmla="*/ 110638 h 214543"/>
                    <a:gd name="connsiteX25" fmla="*/ 182017 w 214690"/>
                    <a:gd name="connsiteY25" fmla="*/ 106212 h 214543"/>
                    <a:gd name="connsiteX26" fmla="*/ 109430 w 214690"/>
                    <a:gd name="connsiteY26" fmla="*/ 33659 h 214543"/>
                    <a:gd name="connsiteX27" fmla="*/ 74695 w 214690"/>
                    <a:gd name="connsiteY27" fmla="*/ 18700 h 214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214690" h="214543">
                      <a:moveTo>
                        <a:pt x="152334" y="214543"/>
                      </a:moveTo>
                      <a:cubicBezTo>
                        <a:pt x="142487" y="214574"/>
                        <a:pt x="133033" y="210666"/>
                        <a:pt x="126080" y="203697"/>
                      </a:cubicBezTo>
                      <a:lnTo>
                        <a:pt x="10901" y="88510"/>
                      </a:lnTo>
                      <a:cubicBezTo>
                        <a:pt x="-3567" y="74149"/>
                        <a:pt x="-3641" y="50781"/>
                        <a:pt x="10726" y="36327"/>
                      </a:cubicBezTo>
                      <a:cubicBezTo>
                        <a:pt x="10782" y="36271"/>
                        <a:pt x="10845" y="36208"/>
                        <a:pt x="10901" y="36152"/>
                      </a:cubicBezTo>
                      <a:lnTo>
                        <a:pt x="27488" y="19510"/>
                      </a:lnTo>
                      <a:cubicBezTo>
                        <a:pt x="39936" y="6969"/>
                        <a:pt x="56898" y="-56"/>
                        <a:pt x="74571" y="0"/>
                      </a:cubicBezTo>
                      <a:lnTo>
                        <a:pt x="74571" y="0"/>
                      </a:lnTo>
                      <a:cubicBezTo>
                        <a:pt x="92212" y="0"/>
                        <a:pt x="109131" y="7025"/>
                        <a:pt x="121590" y="19510"/>
                      </a:cubicBezTo>
                      <a:lnTo>
                        <a:pt x="195113" y="92998"/>
                      </a:lnTo>
                      <a:cubicBezTo>
                        <a:pt x="197121" y="94911"/>
                        <a:pt x="198954" y="96999"/>
                        <a:pt x="200601" y="99231"/>
                      </a:cubicBezTo>
                      <a:cubicBezTo>
                        <a:pt x="212250" y="114034"/>
                        <a:pt x="216995" y="133120"/>
                        <a:pt x="213634" y="151651"/>
                      </a:cubicBezTo>
                      <a:lnTo>
                        <a:pt x="213634" y="151651"/>
                      </a:lnTo>
                      <a:cubicBezTo>
                        <a:pt x="211108" y="165009"/>
                        <a:pt x="204586" y="177294"/>
                        <a:pt x="194926" y="186868"/>
                      </a:cubicBezTo>
                      <a:lnTo>
                        <a:pt x="178338" y="203448"/>
                      </a:lnTo>
                      <a:cubicBezTo>
                        <a:pt x="171485" y="210448"/>
                        <a:pt x="162130" y="214443"/>
                        <a:pt x="152334" y="214543"/>
                      </a:cubicBezTo>
                      <a:close/>
                      <a:moveTo>
                        <a:pt x="74571" y="18700"/>
                      </a:moveTo>
                      <a:cubicBezTo>
                        <a:pt x="61862" y="18668"/>
                        <a:pt x="49670" y="23717"/>
                        <a:pt x="40709" y="32724"/>
                      </a:cubicBezTo>
                      <a:lnTo>
                        <a:pt x="24121" y="49366"/>
                      </a:lnTo>
                      <a:cubicBezTo>
                        <a:pt x="20635" y="52782"/>
                        <a:pt x="18683" y="57457"/>
                        <a:pt x="18696" y="62331"/>
                      </a:cubicBezTo>
                      <a:cubicBezTo>
                        <a:pt x="18702" y="67205"/>
                        <a:pt x="20654" y="71868"/>
                        <a:pt x="24121" y="75296"/>
                      </a:cubicBezTo>
                      <a:lnTo>
                        <a:pt x="139301" y="190483"/>
                      </a:lnTo>
                      <a:cubicBezTo>
                        <a:pt x="146553" y="197489"/>
                        <a:pt x="158052" y="197489"/>
                        <a:pt x="165305" y="190483"/>
                      </a:cubicBezTo>
                      <a:lnTo>
                        <a:pt x="182017" y="173841"/>
                      </a:lnTo>
                      <a:cubicBezTo>
                        <a:pt x="199179" y="156800"/>
                        <a:pt x="200788" y="129586"/>
                        <a:pt x="185759" y="110638"/>
                      </a:cubicBezTo>
                      <a:cubicBezTo>
                        <a:pt x="184636" y="109061"/>
                        <a:pt x="183383" y="107583"/>
                        <a:pt x="182017" y="106212"/>
                      </a:cubicBezTo>
                      <a:lnTo>
                        <a:pt x="109430" y="33659"/>
                      </a:lnTo>
                      <a:cubicBezTo>
                        <a:pt x="100363" y="24166"/>
                        <a:pt x="87828" y="18762"/>
                        <a:pt x="74695" y="187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2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VN"/>
                </a:p>
              </p:txBody>
            </p:sp>
            <p:sp>
              <p:nvSpPr>
                <p:cNvPr id="69" name="Freeform 68">
                  <a:extLst>
                    <a:ext uri="{FF2B5EF4-FFF2-40B4-BE49-F238E27FC236}">
                      <a16:creationId xmlns:a16="http://schemas.microsoft.com/office/drawing/2014/main" id="{BD1A6B22-B1F2-E946-8224-C066875FDD6A}"/>
                    </a:ext>
                  </a:extLst>
                </p:cNvPr>
                <p:cNvSpPr/>
                <p:nvPr/>
              </p:nvSpPr>
              <p:spPr>
                <a:xfrm rot="-2700000">
                  <a:off x="8462855" y="3481148"/>
                  <a:ext cx="108444" cy="18699"/>
                </a:xfrm>
                <a:custGeom>
                  <a:avLst/>
                  <a:gdLst>
                    <a:gd name="connsiteX0" fmla="*/ 0 w 108444"/>
                    <a:gd name="connsiteY0" fmla="*/ 0 h 18699"/>
                    <a:gd name="connsiteX1" fmla="*/ 108445 w 108444"/>
                    <a:gd name="connsiteY1" fmla="*/ 0 h 18699"/>
                    <a:gd name="connsiteX2" fmla="*/ 108445 w 108444"/>
                    <a:gd name="connsiteY2" fmla="*/ 18699 h 18699"/>
                    <a:gd name="connsiteX3" fmla="*/ 0 w 108444"/>
                    <a:gd name="connsiteY3" fmla="*/ 18699 h 1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8444" h="18699">
                      <a:moveTo>
                        <a:pt x="0" y="0"/>
                      </a:moveTo>
                      <a:lnTo>
                        <a:pt x="108445" y="0"/>
                      </a:lnTo>
                      <a:lnTo>
                        <a:pt x="108445" y="18699"/>
                      </a:lnTo>
                      <a:lnTo>
                        <a:pt x="0" y="1869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2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VN"/>
                </a:p>
              </p:txBody>
            </p:sp>
            <p:sp>
              <p:nvSpPr>
                <p:cNvPr id="70" name="Freeform 69">
                  <a:extLst>
                    <a:ext uri="{FF2B5EF4-FFF2-40B4-BE49-F238E27FC236}">
                      <a16:creationId xmlns:a16="http://schemas.microsoft.com/office/drawing/2014/main" id="{8ABC474C-8B49-DD48-B613-EF476C21B845}"/>
                    </a:ext>
                  </a:extLst>
                </p:cNvPr>
                <p:cNvSpPr/>
                <p:nvPr/>
              </p:nvSpPr>
              <p:spPr>
                <a:xfrm rot="-2700000">
                  <a:off x="8501639" y="3519961"/>
                  <a:ext cx="108444" cy="18699"/>
                </a:xfrm>
                <a:custGeom>
                  <a:avLst/>
                  <a:gdLst>
                    <a:gd name="connsiteX0" fmla="*/ 0 w 108444"/>
                    <a:gd name="connsiteY0" fmla="*/ 0 h 18699"/>
                    <a:gd name="connsiteX1" fmla="*/ 108445 w 108444"/>
                    <a:gd name="connsiteY1" fmla="*/ 0 h 18699"/>
                    <a:gd name="connsiteX2" fmla="*/ 108445 w 108444"/>
                    <a:gd name="connsiteY2" fmla="*/ 18699 h 18699"/>
                    <a:gd name="connsiteX3" fmla="*/ 0 w 108444"/>
                    <a:gd name="connsiteY3" fmla="*/ 18699 h 1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8444" h="18699">
                      <a:moveTo>
                        <a:pt x="0" y="0"/>
                      </a:moveTo>
                      <a:lnTo>
                        <a:pt x="108445" y="0"/>
                      </a:lnTo>
                      <a:lnTo>
                        <a:pt x="108445" y="18699"/>
                      </a:lnTo>
                      <a:lnTo>
                        <a:pt x="0" y="1869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2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VN"/>
                </a:p>
              </p:txBody>
            </p:sp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5CCA6D3E-E8E1-DF42-9CA2-4E11D9CB39BA}"/>
                    </a:ext>
                  </a:extLst>
                </p:cNvPr>
                <p:cNvSpPr/>
                <p:nvPr/>
              </p:nvSpPr>
              <p:spPr>
                <a:xfrm rot="-2700000">
                  <a:off x="8540476" y="3558867"/>
                  <a:ext cx="108008" cy="18699"/>
                </a:xfrm>
                <a:custGeom>
                  <a:avLst/>
                  <a:gdLst>
                    <a:gd name="connsiteX0" fmla="*/ 0 w 108008"/>
                    <a:gd name="connsiteY0" fmla="*/ 0 h 18699"/>
                    <a:gd name="connsiteX1" fmla="*/ 108008 w 108008"/>
                    <a:gd name="connsiteY1" fmla="*/ 0 h 18699"/>
                    <a:gd name="connsiteX2" fmla="*/ 108008 w 108008"/>
                    <a:gd name="connsiteY2" fmla="*/ 18699 h 18699"/>
                    <a:gd name="connsiteX3" fmla="*/ 0 w 108008"/>
                    <a:gd name="connsiteY3" fmla="*/ 18699 h 1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8008" h="18699">
                      <a:moveTo>
                        <a:pt x="0" y="0"/>
                      </a:moveTo>
                      <a:lnTo>
                        <a:pt x="108008" y="0"/>
                      </a:lnTo>
                      <a:lnTo>
                        <a:pt x="108008" y="18699"/>
                      </a:lnTo>
                      <a:lnTo>
                        <a:pt x="0" y="1869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2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VN"/>
                </a:p>
              </p:txBody>
            </p:sp>
          </p:grp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91DFBC23-1B91-334B-9E4D-4BE3C437B65F}"/>
                  </a:ext>
                </a:extLst>
              </p:cNvPr>
              <p:cNvSpPr/>
              <p:nvPr/>
            </p:nvSpPr>
            <p:spPr>
              <a:xfrm rot="-2700000">
                <a:off x="8706152" y="3537878"/>
                <a:ext cx="18708" cy="74734"/>
              </a:xfrm>
              <a:custGeom>
                <a:avLst/>
                <a:gdLst>
                  <a:gd name="connsiteX0" fmla="*/ 0 w 18708"/>
                  <a:gd name="connsiteY0" fmla="*/ 0 h 74734"/>
                  <a:gd name="connsiteX1" fmla="*/ 18708 w 18708"/>
                  <a:gd name="connsiteY1" fmla="*/ 0 h 74734"/>
                  <a:gd name="connsiteX2" fmla="*/ 18708 w 18708"/>
                  <a:gd name="connsiteY2" fmla="*/ 74735 h 74734"/>
                  <a:gd name="connsiteX3" fmla="*/ 0 w 18708"/>
                  <a:gd name="connsiteY3" fmla="*/ 74735 h 7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74734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74735"/>
                    </a:lnTo>
                    <a:lnTo>
                      <a:pt x="0" y="74735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498DA355-6F4A-3A4B-84F7-2662007449A0}"/>
                  </a:ext>
                </a:extLst>
              </p:cNvPr>
              <p:cNvSpPr/>
              <p:nvPr/>
            </p:nvSpPr>
            <p:spPr>
              <a:xfrm rot="-2700000">
                <a:off x="8745157" y="3499301"/>
                <a:ext cx="18708" cy="74423"/>
              </a:xfrm>
              <a:custGeom>
                <a:avLst/>
                <a:gdLst>
                  <a:gd name="connsiteX0" fmla="*/ 0 w 18708"/>
                  <a:gd name="connsiteY0" fmla="*/ 0 h 74423"/>
                  <a:gd name="connsiteX1" fmla="*/ 18708 w 18708"/>
                  <a:gd name="connsiteY1" fmla="*/ 0 h 74423"/>
                  <a:gd name="connsiteX2" fmla="*/ 18708 w 18708"/>
                  <a:gd name="connsiteY2" fmla="*/ 74423 h 74423"/>
                  <a:gd name="connsiteX3" fmla="*/ 0 w 18708"/>
                  <a:gd name="connsiteY3" fmla="*/ 74423 h 74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74423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74423"/>
                    </a:lnTo>
                    <a:lnTo>
                      <a:pt x="0" y="74423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6842EE87-A382-604B-AA22-487623BB7F88}"/>
                  </a:ext>
                </a:extLst>
              </p:cNvPr>
              <p:cNvSpPr/>
              <p:nvPr/>
            </p:nvSpPr>
            <p:spPr>
              <a:xfrm rot="-2700000">
                <a:off x="8786316" y="3459984"/>
                <a:ext cx="18708" cy="72802"/>
              </a:xfrm>
              <a:custGeom>
                <a:avLst/>
                <a:gdLst>
                  <a:gd name="connsiteX0" fmla="*/ 0 w 18708"/>
                  <a:gd name="connsiteY0" fmla="*/ 0 h 72802"/>
                  <a:gd name="connsiteX1" fmla="*/ 18708 w 18708"/>
                  <a:gd name="connsiteY1" fmla="*/ 0 h 72802"/>
                  <a:gd name="connsiteX2" fmla="*/ 18708 w 18708"/>
                  <a:gd name="connsiteY2" fmla="*/ 72802 h 72802"/>
                  <a:gd name="connsiteX3" fmla="*/ 0 w 18708"/>
                  <a:gd name="connsiteY3" fmla="*/ 72802 h 72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08" h="72802">
                    <a:moveTo>
                      <a:pt x="0" y="0"/>
                    </a:moveTo>
                    <a:lnTo>
                      <a:pt x="18708" y="0"/>
                    </a:lnTo>
                    <a:lnTo>
                      <a:pt x="18708" y="72802"/>
                    </a:lnTo>
                    <a:lnTo>
                      <a:pt x="0" y="72802"/>
                    </a:ln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</p:grpSp>
        <p:grpSp>
          <p:nvGrpSpPr>
            <p:cNvPr id="75" name="Graphic 6">
              <a:extLst>
                <a:ext uri="{FF2B5EF4-FFF2-40B4-BE49-F238E27FC236}">
                  <a16:creationId xmlns:a16="http://schemas.microsoft.com/office/drawing/2014/main" id="{8AA021C3-9517-6944-ABA4-B344304DD10E}"/>
                </a:ext>
              </a:extLst>
            </p:cNvPr>
            <p:cNvGrpSpPr/>
            <p:nvPr/>
          </p:nvGrpSpPr>
          <p:grpSpPr>
            <a:xfrm>
              <a:off x="3221191" y="3071719"/>
              <a:ext cx="711780" cy="711506"/>
              <a:chOff x="3221191" y="3071719"/>
              <a:chExt cx="711780" cy="711506"/>
            </a:xfrm>
            <a:solidFill>
              <a:srgbClr val="FFFFFF"/>
            </a:solidFill>
          </p:grpSpPr>
          <p:grpSp>
            <p:nvGrpSpPr>
              <p:cNvPr id="76" name="Graphic 6">
                <a:extLst>
                  <a:ext uri="{FF2B5EF4-FFF2-40B4-BE49-F238E27FC236}">
                    <a16:creationId xmlns:a16="http://schemas.microsoft.com/office/drawing/2014/main" id="{8AA021C3-9517-6944-ABA4-B344304DD10E}"/>
                  </a:ext>
                </a:extLst>
              </p:cNvPr>
              <p:cNvGrpSpPr/>
              <p:nvPr/>
            </p:nvGrpSpPr>
            <p:grpSpPr>
              <a:xfrm>
                <a:off x="3221191" y="3071719"/>
                <a:ext cx="711780" cy="711506"/>
                <a:chOff x="3221191" y="3071719"/>
                <a:chExt cx="711780" cy="711506"/>
              </a:xfrm>
              <a:solidFill>
                <a:srgbClr val="FFFFFF"/>
              </a:solidFill>
            </p:grpSpPr>
            <p:grpSp>
              <p:nvGrpSpPr>
                <p:cNvPr id="77" name="Graphic 6">
                  <a:extLst>
                    <a:ext uri="{FF2B5EF4-FFF2-40B4-BE49-F238E27FC236}">
                      <a16:creationId xmlns:a16="http://schemas.microsoft.com/office/drawing/2014/main" id="{8AA021C3-9517-6944-ABA4-B344304DD10E}"/>
                    </a:ext>
                  </a:extLst>
                </p:cNvPr>
                <p:cNvGrpSpPr/>
                <p:nvPr/>
              </p:nvGrpSpPr>
              <p:grpSpPr>
                <a:xfrm>
                  <a:off x="3522392" y="3071719"/>
                  <a:ext cx="109130" cy="711506"/>
                  <a:chOff x="3522392" y="3071719"/>
                  <a:chExt cx="109130" cy="711506"/>
                </a:xfrm>
                <a:solidFill>
                  <a:srgbClr val="FFFFFF"/>
                </a:solidFill>
              </p:grpSpPr>
              <p:sp>
                <p:nvSpPr>
                  <p:cNvPr id="78" name="Freeform 77">
                    <a:extLst>
                      <a:ext uri="{FF2B5EF4-FFF2-40B4-BE49-F238E27FC236}">
                        <a16:creationId xmlns:a16="http://schemas.microsoft.com/office/drawing/2014/main" id="{1E790411-25DF-6F43-9915-36147EFD15B6}"/>
                      </a:ext>
                    </a:extLst>
                  </p:cNvPr>
                  <p:cNvSpPr/>
                  <p:nvPr/>
                </p:nvSpPr>
                <p:spPr>
                  <a:xfrm>
                    <a:off x="3523015" y="3071719"/>
                    <a:ext cx="108506" cy="108455"/>
                  </a:xfrm>
                  <a:custGeom>
                    <a:avLst/>
                    <a:gdLst>
                      <a:gd name="connsiteX0" fmla="*/ 54253 w 108506"/>
                      <a:gd name="connsiteY0" fmla="*/ 108456 h 108455"/>
                      <a:gd name="connsiteX1" fmla="*/ 0 w 108506"/>
                      <a:gd name="connsiteY1" fmla="*/ 54228 h 108455"/>
                      <a:gd name="connsiteX2" fmla="*/ 54253 w 108506"/>
                      <a:gd name="connsiteY2" fmla="*/ 0 h 108455"/>
                      <a:gd name="connsiteX3" fmla="*/ 108507 w 108506"/>
                      <a:gd name="connsiteY3" fmla="*/ 54228 h 108455"/>
                      <a:gd name="connsiteX4" fmla="*/ 108507 w 108506"/>
                      <a:gd name="connsiteY4" fmla="*/ 54290 h 108455"/>
                      <a:gd name="connsiteX5" fmla="*/ 54253 w 108506"/>
                      <a:gd name="connsiteY5" fmla="*/ 108456 h 108455"/>
                      <a:gd name="connsiteX6" fmla="*/ 54253 w 108506"/>
                      <a:gd name="connsiteY6" fmla="*/ 18762 h 108455"/>
                      <a:gd name="connsiteX7" fmla="*/ 18708 w 108506"/>
                      <a:gd name="connsiteY7" fmla="*/ 54290 h 108455"/>
                      <a:gd name="connsiteX8" fmla="*/ 54253 w 108506"/>
                      <a:gd name="connsiteY8" fmla="*/ 89819 h 108455"/>
                      <a:gd name="connsiteX9" fmla="*/ 89799 w 108506"/>
                      <a:gd name="connsiteY9" fmla="*/ 54290 h 108455"/>
                      <a:gd name="connsiteX10" fmla="*/ 54253 w 108506"/>
                      <a:gd name="connsiteY10" fmla="*/ 18762 h 1084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8506" h="108455">
                        <a:moveTo>
                          <a:pt x="54253" y="108456"/>
                        </a:moveTo>
                        <a:cubicBezTo>
                          <a:pt x="24290" y="108456"/>
                          <a:pt x="0" y="84178"/>
                          <a:pt x="0" y="54228"/>
                        </a:cubicBezTo>
                        <a:cubicBezTo>
                          <a:pt x="0" y="24278"/>
                          <a:pt x="24290" y="0"/>
                          <a:pt x="54253" y="0"/>
                        </a:cubicBezTo>
                        <a:cubicBezTo>
                          <a:pt x="84217" y="0"/>
                          <a:pt x="108507" y="24278"/>
                          <a:pt x="108507" y="54228"/>
                        </a:cubicBezTo>
                        <a:cubicBezTo>
                          <a:pt x="108507" y="54247"/>
                          <a:pt x="108507" y="54271"/>
                          <a:pt x="108507" y="54290"/>
                        </a:cubicBezTo>
                        <a:cubicBezTo>
                          <a:pt x="108473" y="84215"/>
                          <a:pt x="84193" y="108456"/>
                          <a:pt x="54253" y="108456"/>
                        </a:cubicBezTo>
                        <a:close/>
                        <a:moveTo>
                          <a:pt x="54253" y="18762"/>
                        </a:moveTo>
                        <a:cubicBezTo>
                          <a:pt x="34622" y="18762"/>
                          <a:pt x="18708" y="34668"/>
                          <a:pt x="18708" y="54290"/>
                        </a:cubicBezTo>
                        <a:cubicBezTo>
                          <a:pt x="18708" y="73912"/>
                          <a:pt x="34622" y="89819"/>
                          <a:pt x="54253" y="89819"/>
                        </a:cubicBezTo>
                        <a:cubicBezTo>
                          <a:pt x="73884" y="89819"/>
                          <a:pt x="89799" y="73912"/>
                          <a:pt x="89799" y="54290"/>
                        </a:cubicBezTo>
                        <a:cubicBezTo>
                          <a:pt x="89799" y="34668"/>
                          <a:pt x="73884" y="18762"/>
                          <a:pt x="54253" y="1876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79" name="Freeform 78">
                    <a:extLst>
                      <a:ext uri="{FF2B5EF4-FFF2-40B4-BE49-F238E27FC236}">
                        <a16:creationId xmlns:a16="http://schemas.microsoft.com/office/drawing/2014/main" id="{22B7D8E9-0717-524E-A0A9-DDDF7713A921}"/>
                      </a:ext>
                    </a:extLst>
                  </p:cNvPr>
                  <p:cNvSpPr/>
                  <p:nvPr/>
                </p:nvSpPr>
                <p:spPr>
                  <a:xfrm>
                    <a:off x="3567540" y="3164093"/>
                    <a:ext cx="18708" cy="98482"/>
                  </a:xfrm>
                  <a:custGeom>
                    <a:avLst/>
                    <a:gdLst>
                      <a:gd name="connsiteX0" fmla="*/ 18708 w 18708"/>
                      <a:gd name="connsiteY0" fmla="*/ 0 h 98482"/>
                      <a:gd name="connsiteX1" fmla="*/ 18708 w 18708"/>
                      <a:gd name="connsiteY1" fmla="*/ 98483 h 98482"/>
                      <a:gd name="connsiteX2" fmla="*/ 9541 w 18708"/>
                      <a:gd name="connsiteY2" fmla="*/ 98483 h 98482"/>
                      <a:gd name="connsiteX3" fmla="*/ 0 w 18708"/>
                      <a:gd name="connsiteY3" fmla="*/ 98483 h 98482"/>
                      <a:gd name="connsiteX4" fmla="*/ 0 w 18708"/>
                      <a:gd name="connsiteY4" fmla="*/ 0 h 984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708" h="98482">
                        <a:moveTo>
                          <a:pt x="18708" y="0"/>
                        </a:moveTo>
                        <a:lnTo>
                          <a:pt x="18708" y="98483"/>
                        </a:lnTo>
                        <a:cubicBezTo>
                          <a:pt x="15715" y="98483"/>
                          <a:pt x="12472" y="98483"/>
                          <a:pt x="9541" y="98483"/>
                        </a:cubicBezTo>
                        <a:cubicBezTo>
                          <a:pt x="6610" y="98483"/>
                          <a:pt x="3305" y="98483"/>
                          <a:pt x="0" y="98483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80" name="Freeform 79">
                    <a:extLst>
                      <a:ext uri="{FF2B5EF4-FFF2-40B4-BE49-F238E27FC236}">
                        <a16:creationId xmlns:a16="http://schemas.microsoft.com/office/drawing/2014/main" id="{08ECC035-6D73-8746-BBBC-D085F6D74CDA}"/>
                      </a:ext>
                    </a:extLst>
                  </p:cNvPr>
                  <p:cNvSpPr/>
                  <p:nvPr/>
                </p:nvSpPr>
                <p:spPr>
                  <a:xfrm>
                    <a:off x="3522392" y="3674770"/>
                    <a:ext cx="108506" cy="108455"/>
                  </a:xfrm>
                  <a:custGeom>
                    <a:avLst/>
                    <a:gdLst>
                      <a:gd name="connsiteX0" fmla="*/ 54253 w 108506"/>
                      <a:gd name="connsiteY0" fmla="*/ 108456 h 108455"/>
                      <a:gd name="connsiteX1" fmla="*/ 0 w 108506"/>
                      <a:gd name="connsiteY1" fmla="*/ 54228 h 108455"/>
                      <a:gd name="connsiteX2" fmla="*/ 54253 w 108506"/>
                      <a:gd name="connsiteY2" fmla="*/ 0 h 108455"/>
                      <a:gd name="connsiteX3" fmla="*/ 108507 w 108506"/>
                      <a:gd name="connsiteY3" fmla="*/ 54228 h 108455"/>
                      <a:gd name="connsiteX4" fmla="*/ 54253 w 108506"/>
                      <a:gd name="connsiteY4" fmla="*/ 108456 h 108455"/>
                      <a:gd name="connsiteX5" fmla="*/ 54253 w 108506"/>
                      <a:gd name="connsiteY5" fmla="*/ 18699 h 108455"/>
                      <a:gd name="connsiteX6" fmla="*/ 18708 w 108506"/>
                      <a:gd name="connsiteY6" fmla="*/ 54228 h 108455"/>
                      <a:gd name="connsiteX7" fmla="*/ 54253 w 108506"/>
                      <a:gd name="connsiteY7" fmla="*/ 89756 h 108455"/>
                      <a:gd name="connsiteX8" fmla="*/ 89799 w 108506"/>
                      <a:gd name="connsiteY8" fmla="*/ 54228 h 108455"/>
                      <a:gd name="connsiteX9" fmla="*/ 54253 w 108506"/>
                      <a:gd name="connsiteY9" fmla="*/ 18699 h 1084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506" h="108455">
                        <a:moveTo>
                          <a:pt x="54253" y="108456"/>
                        </a:moveTo>
                        <a:cubicBezTo>
                          <a:pt x="24290" y="108456"/>
                          <a:pt x="0" y="84178"/>
                          <a:pt x="0" y="54228"/>
                        </a:cubicBezTo>
                        <a:cubicBezTo>
                          <a:pt x="0" y="24278"/>
                          <a:pt x="24290" y="0"/>
                          <a:pt x="54253" y="0"/>
                        </a:cubicBezTo>
                        <a:cubicBezTo>
                          <a:pt x="84217" y="0"/>
                          <a:pt x="108507" y="24278"/>
                          <a:pt x="108507" y="54228"/>
                        </a:cubicBezTo>
                        <a:cubicBezTo>
                          <a:pt x="108473" y="84165"/>
                          <a:pt x="84203" y="108418"/>
                          <a:pt x="54253" y="108456"/>
                        </a:cubicBezTo>
                        <a:close/>
                        <a:moveTo>
                          <a:pt x="54253" y="18699"/>
                        </a:moveTo>
                        <a:cubicBezTo>
                          <a:pt x="34622" y="18699"/>
                          <a:pt x="18708" y="34606"/>
                          <a:pt x="18708" y="54228"/>
                        </a:cubicBezTo>
                        <a:cubicBezTo>
                          <a:pt x="18708" y="73850"/>
                          <a:pt x="34622" y="89756"/>
                          <a:pt x="54253" y="89756"/>
                        </a:cubicBezTo>
                        <a:cubicBezTo>
                          <a:pt x="73884" y="89756"/>
                          <a:pt x="89799" y="73850"/>
                          <a:pt x="89799" y="54228"/>
                        </a:cubicBezTo>
                        <a:cubicBezTo>
                          <a:pt x="89764" y="34619"/>
                          <a:pt x="73870" y="18737"/>
                          <a:pt x="54253" y="1869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81" name="Freeform 80">
                    <a:extLst>
                      <a:ext uri="{FF2B5EF4-FFF2-40B4-BE49-F238E27FC236}">
                        <a16:creationId xmlns:a16="http://schemas.microsoft.com/office/drawing/2014/main" id="{5431CD83-7E54-3749-9372-01F2F543913D}"/>
                      </a:ext>
                    </a:extLst>
                  </p:cNvPr>
                  <p:cNvSpPr/>
                  <p:nvPr/>
                </p:nvSpPr>
                <p:spPr>
                  <a:xfrm>
                    <a:off x="3567915" y="3592431"/>
                    <a:ext cx="18708" cy="98420"/>
                  </a:xfrm>
                  <a:custGeom>
                    <a:avLst/>
                    <a:gdLst>
                      <a:gd name="connsiteX0" fmla="*/ 18708 w 18708"/>
                      <a:gd name="connsiteY0" fmla="*/ 0 h 98420"/>
                      <a:gd name="connsiteX1" fmla="*/ 18708 w 18708"/>
                      <a:gd name="connsiteY1" fmla="*/ 98420 h 98420"/>
                      <a:gd name="connsiteX2" fmla="*/ 0 w 18708"/>
                      <a:gd name="connsiteY2" fmla="*/ 98420 h 98420"/>
                      <a:gd name="connsiteX3" fmla="*/ 0 w 18708"/>
                      <a:gd name="connsiteY3" fmla="*/ 0 h 98420"/>
                      <a:gd name="connsiteX4" fmla="*/ 9167 w 18708"/>
                      <a:gd name="connsiteY4" fmla="*/ 0 h 98420"/>
                      <a:gd name="connsiteX5" fmla="*/ 18708 w 18708"/>
                      <a:gd name="connsiteY5" fmla="*/ 0 h 98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8708" h="98420">
                        <a:moveTo>
                          <a:pt x="18708" y="0"/>
                        </a:moveTo>
                        <a:lnTo>
                          <a:pt x="18708" y="98420"/>
                        </a:lnTo>
                        <a:lnTo>
                          <a:pt x="0" y="98420"/>
                        </a:lnTo>
                        <a:lnTo>
                          <a:pt x="0" y="0"/>
                        </a:lnTo>
                        <a:cubicBezTo>
                          <a:pt x="2993" y="0"/>
                          <a:pt x="6236" y="0"/>
                          <a:pt x="9167" y="0"/>
                        </a:cubicBezTo>
                        <a:cubicBezTo>
                          <a:pt x="12098" y="0"/>
                          <a:pt x="15590" y="187"/>
                          <a:pt x="18708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</p:grpSp>
            <p:grpSp>
              <p:nvGrpSpPr>
                <p:cNvPr id="82" name="Graphic 6">
                  <a:extLst>
                    <a:ext uri="{FF2B5EF4-FFF2-40B4-BE49-F238E27FC236}">
                      <a16:creationId xmlns:a16="http://schemas.microsoft.com/office/drawing/2014/main" id="{8AA021C3-9517-6944-ABA4-B344304DD10E}"/>
                    </a:ext>
                  </a:extLst>
                </p:cNvPr>
                <p:cNvGrpSpPr/>
                <p:nvPr/>
              </p:nvGrpSpPr>
              <p:grpSpPr>
                <a:xfrm>
                  <a:off x="3221191" y="3373089"/>
                  <a:ext cx="711780" cy="108891"/>
                  <a:chOff x="3221191" y="3373089"/>
                  <a:chExt cx="711780" cy="108891"/>
                </a:xfrm>
                <a:solidFill>
                  <a:srgbClr val="FFFFFF"/>
                </a:solidFill>
              </p:grpSpPr>
              <p:sp>
                <p:nvSpPr>
                  <p:cNvPr id="83" name="Freeform 82">
                    <a:extLst>
                      <a:ext uri="{FF2B5EF4-FFF2-40B4-BE49-F238E27FC236}">
                        <a16:creationId xmlns:a16="http://schemas.microsoft.com/office/drawing/2014/main" id="{97401298-C893-4E41-8A14-539D3A64A4C6}"/>
                      </a:ext>
                    </a:extLst>
                  </p:cNvPr>
                  <p:cNvSpPr/>
                  <p:nvPr/>
                </p:nvSpPr>
                <p:spPr>
                  <a:xfrm>
                    <a:off x="3824465" y="3373525"/>
                    <a:ext cx="108506" cy="108455"/>
                  </a:xfrm>
                  <a:custGeom>
                    <a:avLst/>
                    <a:gdLst>
                      <a:gd name="connsiteX0" fmla="*/ 54253 w 108506"/>
                      <a:gd name="connsiteY0" fmla="*/ 108456 h 108455"/>
                      <a:gd name="connsiteX1" fmla="*/ 0 w 108506"/>
                      <a:gd name="connsiteY1" fmla="*/ 54228 h 108455"/>
                      <a:gd name="connsiteX2" fmla="*/ 54253 w 108506"/>
                      <a:gd name="connsiteY2" fmla="*/ 0 h 108455"/>
                      <a:gd name="connsiteX3" fmla="*/ 108507 w 108506"/>
                      <a:gd name="connsiteY3" fmla="*/ 54228 h 108455"/>
                      <a:gd name="connsiteX4" fmla="*/ 108507 w 108506"/>
                      <a:gd name="connsiteY4" fmla="*/ 54290 h 108455"/>
                      <a:gd name="connsiteX5" fmla="*/ 54253 w 108506"/>
                      <a:gd name="connsiteY5" fmla="*/ 108456 h 108455"/>
                      <a:gd name="connsiteX6" fmla="*/ 54253 w 108506"/>
                      <a:gd name="connsiteY6" fmla="*/ 18761 h 108455"/>
                      <a:gd name="connsiteX7" fmla="*/ 18708 w 108506"/>
                      <a:gd name="connsiteY7" fmla="*/ 54290 h 108455"/>
                      <a:gd name="connsiteX8" fmla="*/ 54253 w 108506"/>
                      <a:gd name="connsiteY8" fmla="*/ 89819 h 108455"/>
                      <a:gd name="connsiteX9" fmla="*/ 89799 w 108506"/>
                      <a:gd name="connsiteY9" fmla="*/ 54290 h 108455"/>
                      <a:gd name="connsiteX10" fmla="*/ 54253 w 108506"/>
                      <a:gd name="connsiteY10" fmla="*/ 18637 h 1084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8506" h="108455">
                        <a:moveTo>
                          <a:pt x="54253" y="108456"/>
                        </a:moveTo>
                        <a:cubicBezTo>
                          <a:pt x="24289" y="108456"/>
                          <a:pt x="0" y="84178"/>
                          <a:pt x="0" y="54228"/>
                        </a:cubicBezTo>
                        <a:cubicBezTo>
                          <a:pt x="0" y="24278"/>
                          <a:pt x="24289" y="0"/>
                          <a:pt x="54253" y="0"/>
                        </a:cubicBezTo>
                        <a:cubicBezTo>
                          <a:pt x="84218" y="0"/>
                          <a:pt x="108507" y="24278"/>
                          <a:pt x="108507" y="54228"/>
                        </a:cubicBezTo>
                        <a:cubicBezTo>
                          <a:pt x="108507" y="54247"/>
                          <a:pt x="108507" y="54271"/>
                          <a:pt x="108507" y="54290"/>
                        </a:cubicBezTo>
                        <a:cubicBezTo>
                          <a:pt x="108438" y="84203"/>
                          <a:pt x="84180" y="108424"/>
                          <a:pt x="54253" y="108456"/>
                        </a:cubicBezTo>
                        <a:close/>
                        <a:moveTo>
                          <a:pt x="54253" y="18761"/>
                        </a:moveTo>
                        <a:cubicBezTo>
                          <a:pt x="34622" y="18761"/>
                          <a:pt x="18708" y="34668"/>
                          <a:pt x="18708" y="54290"/>
                        </a:cubicBezTo>
                        <a:cubicBezTo>
                          <a:pt x="18708" y="73912"/>
                          <a:pt x="34622" y="89819"/>
                          <a:pt x="54253" y="89819"/>
                        </a:cubicBezTo>
                        <a:cubicBezTo>
                          <a:pt x="73884" y="89819"/>
                          <a:pt x="89799" y="73912"/>
                          <a:pt x="89799" y="54290"/>
                        </a:cubicBezTo>
                        <a:cubicBezTo>
                          <a:pt x="89836" y="34631"/>
                          <a:pt x="73922" y="18674"/>
                          <a:pt x="54253" y="186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84" name="Freeform 83">
                    <a:extLst>
                      <a:ext uri="{FF2B5EF4-FFF2-40B4-BE49-F238E27FC236}">
                        <a16:creationId xmlns:a16="http://schemas.microsoft.com/office/drawing/2014/main" id="{B9550E7B-8215-7A46-98A7-C34D98A2694C}"/>
                      </a:ext>
                    </a:extLst>
                  </p:cNvPr>
                  <p:cNvSpPr/>
                  <p:nvPr/>
                </p:nvSpPr>
                <p:spPr>
                  <a:xfrm>
                    <a:off x="3742087" y="3417967"/>
                    <a:ext cx="98466" cy="18699"/>
                  </a:xfrm>
                  <a:custGeom>
                    <a:avLst/>
                    <a:gdLst>
                      <a:gd name="connsiteX0" fmla="*/ 98467 w 98466"/>
                      <a:gd name="connsiteY0" fmla="*/ 0 h 18699"/>
                      <a:gd name="connsiteX1" fmla="*/ 98467 w 98466"/>
                      <a:gd name="connsiteY1" fmla="*/ 18699 h 18699"/>
                      <a:gd name="connsiteX2" fmla="*/ 0 w 98466"/>
                      <a:gd name="connsiteY2" fmla="*/ 18699 h 18699"/>
                      <a:gd name="connsiteX3" fmla="*/ 0 w 98466"/>
                      <a:gd name="connsiteY3" fmla="*/ 9537 h 18699"/>
                      <a:gd name="connsiteX4" fmla="*/ 0 w 98466"/>
                      <a:gd name="connsiteY4" fmla="*/ 0 h 186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8466" h="18699">
                        <a:moveTo>
                          <a:pt x="98467" y="0"/>
                        </a:moveTo>
                        <a:lnTo>
                          <a:pt x="98467" y="18699"/>
                        </a:lnTo>
                        <a:lnTo>
                          <a:pt x="0" y="18699"/>
                        </a:lnTo>
                        <a:cubicBezTo>
                          <a:pt x="0" y="15707"/>
                          <a:pt x="0" y="12466"/>
                          <a:pt x="0" y="9537"/>
                        </a:cubicBezTo>
                        <a:cubicBezTo>
                          <a:pt x="0" y="6607"/>
                          <a:pt x="0" y="3304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85" name="Freeform 84">
                    <a:extLst>
                      <a:ext uri="{FF2B5EF4-FFF2-40B4-BE49-F238E27FC236}">
                        <a16:creationId xmlns:a16="http://schemas.microsoft.com/office/drawing/2014/main" id="{DAAA78BD-5813-A74A-828A-65582EC04EF6}"/>
                      </a:ext>
                    </a:extLst>
                  </p:cNvPr>
                  <p:cNvSpPr/>
                  <p:nvPr/>
                </p:nvSpPr>
                <p:spPr>
                  <a:xfrm>
                    <a:off x="3221191" y="3373089"/>
                    <a:ext cx="108506" cy="108455"/>
                  </a:xfrm>
                  <a:custGeom>
                    <a:avLst/>
                    <a:gdLst>
                      <a:gd name="connsiteX0" fmla="*/ 54253 w 108506"/>
                      <a:gd name="connsiteY0" fmla="*/ 108456 h 108455"/>
                      <a:gd name="connsiteX1" fmla="*/ 0 w 108506"/>
                      <a:gd name="connsiteY1" fmla="*/ 54228 h 108455"/>
                      <a:gd name="connsiteX2" fmla="*/ 54253 w 108506"/>
                      <a:gd name="connsiteY2" fmla="*/ 0 h 108455"/>
                      <a:gd name="connsiteX3" fmla="*/ 108507 w 108506"/>
                      <a:gd name="connsiteY3" fmla="*/ 54228 h 108455"/>
                      <a:gd name="connsiteX4" fmla="*/ 54253 w 108506"/>
                      <a:gd name="connsiteY4" fmla="*/ 108456 h 108455"/>
                      <a:gd name="connsiteX5" fmla="*/ 54253 w 108506"/>
                      <a:gd name="connsiteY5" fmla="*/ 18699 h 108455"/>
                      <a:gd name="connsiteX6" fmla="*/ 18708 w 108506"/>
                      <a:gd name="connsiteY6" fmla="*/ 54228 h 108455"/>
                      <a:gd name="connsiteX7" fmla="*/ 54253 w 108506"/>
                      <a:gd name="connsiteY7" fmla="*/ 89756 h 108455"/>
                      <a:gd name="connsiteX8" fmla="*/ 89799 w 108506"/>
                      <a:gd name="connsiteY8" fmla="*/ 54228 h 108455"/>
                      <a:gd name="connsiteX9" fmla="*/ 54253 w 108506"/>
                      <a:gd name="connsiteY9" fmla="*/ 18699 h 1084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506" h="108455">
                        <a:moveTo>
                          <a:pt x="54253" y="108456"/>
                        </a:moveTo>
                        <a:cubicBezTo>
                          <a:pt x="24290" y="108456"/>
                          <a:pt x="0" y="84178"/>
                          <a:pt x="0" y="54228"/>
                        </a:cubicBezTo>
                        <a:cubicBezTo>
                          <a:pt x="0" y="24278"/>
                          <a:pt x="24290" y="0"/>
                          <a:pt x="54253" y="0"/>
                        </a:cubicBezTo>
                        <a:cubicBezTo>
                          <a:pt x="84217" y="0"/>
                          <a:pt x="108507" y="24278"/>
                          <a:pt x="108507" y="54228"/>
                        </a:cubicBezTo>
                        <a:cubicBezTo>
                          <a:pt x="108473" y="84165"/>
                          <a:pt x="84203" y="108418"/>
                          <a:pt x="54253" y="108456"/>
                        </a:cubicBezTo>
                        <a:close/>
                        <a:moveTo>
                          <a:pt x="54253" y="18699"/>
                        </a:moveTo>
                        <a:cubicBezTo>
                          <a:pt x="34622" y="18699"/>
                          <a:pt x="18708" y="34606"/>
                          <a:pt x="18708" y="54228"/>
                        </a:cubicBezTo>
                        <a:cubicBezTo>
                          <a:pt x="18708" y="73850"/>
                          <a:pt x="34622" y="89756"/>
                          <a:pt x="54253" y="89756"/>
                        </a:cubicBezTo>
                        <a:cubicBezTo>
                          <a:pt x="73884" y="89756"/>
                          <a:pt x="89799" y="73850"/>
                          <a:pt x="89799" y="54228"/>
                        </a:cubicBezTo>
                        <a:cubicBezTo>
                          <a:pt x="89764" y="34619"/>
                          <a:pt x="73870" y="18737"/>
                          <a:pt x="54253" y="1869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86" name="Freeform 85">
                    <a:extLst>
                      <a:ext uri="{FF2B5EF4-FFF2-40B4-BE49-F238E27FC236}">
                        <a16:creationId xmlns:a16="http://schemas.microsoft.com/office/drawing/2014/main" id="{9DD696C3-B793-EE4E-A02F-9D90FB57E0D0}"/>
                      </a:ext>
                    </a:extLst>
                  </p:cNvPr>
                  <p:cNvSpPr/>
                  <p:nvPr/>
                </p:nvSpPr>
                <p:spPr>
                  <a:xfrm>
                    <a:off x="3313609" y="3418341"/>
                    <a:ext cx="98466" cy="18699"/>
                  </a:xfrm>
                  <a:custGeom>
                    <a:avLst/>
                    <a:gdLst>
                      <a:gd name="connsiteX0" fmla="*/ 98217 w 98466"/>
                      <a:gd name="connsiteY0" fmla="*/ 9163 h 18699"/>
                      <a:gd name="connsiteX1" fmla="*/ 98217 w 98466"/>
                      <a:gd name="connsiteY1" fmla="*/ 18699 h 18699"/>
                      <a:gd name="connsiteX2" fmla="*/ 0 w 98466"/>
                      <a:gd name="connsiteY2" fmla="*/ 18699 h 18699"/>
                      <a:gd name="connsiteX3" fmla="*/ 0 w 98466"/>
                      <a:gd name="connsiteY3" fmla="*/ 0 h 18699"/>
                      <a:gd name="connsiteX4" fmla="*/ 98467 w 98466"/>
                      <a:gd name="connsiteY4" fmla="*/ 0 h 18699"/>
                      <a:gd name="connsiteX5" fmla="*/ 98217 w 98466"/>
                      <a:gd name="connsiteY5" fmla="*/ 9163 h 186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8466" h="18699">
                        <a:moveTo>
                          <a:pt x="98217" y="9163"/>
                        </a:moveTo>
                        <a:cubicBezTo>
                          <a:pt x="98217" y="12341"/>
                          <a:pt x="98217" y="15396"/>
                          <a:pt x="98217" y="18699"/>
                        </a:cubicBezTo>
                        <a:lnTo>
                          <a:pt x="0" y="18699"/>
                        </a:lnTo>
                        <a:lnTo>
                          <a:pt x="0" y="0"/>
                        </a:lnTo>
                        <a:lnTo>
                          <a:pt x="98467" y="0"/>
                        </a:lnTo>
                        <a:cubicBezTo>
                          <a:pt x="98280" y="2992"/>
                          <a:pt x="98217" y="6108"/>
                          <a:pt x="98217" y="9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</p:grpSp>
            <p:grpSp>
              <p:nvGrpSpPr>
                <p:cNvPr id="87" name="Graphic 6">
                  <a:extLst>
                    <a:ext uri="{FF2B5EF4-FFF2-40B4-BE49-F238E27FC236}">
                      <a16:creationId xmlns:a16="http://schemas.microsoft.com/office/drawing/2014/main" id="{8AA021C3-9517-6944-ABA4-B344304DD10E}"/>
                    </a:ext>
                  </a:extLst>
                </p:cNvPr>
                <p:cNvGrpSpPr/>
                <p:nvPr/>
              </p:nvGrpSpPr>
              <p:grpSpPr>
                <a:xfrm>
                  <a:off x="3309704" y="3160483"/>
                  <a:ext cx="534756" cy="534544"/>
                  <a:chOff x="3309704" y="3160483"/>
                  <a:chExt cx="534756" cy="534544"/>
                </a:xfrm>
                <a:solidFill>
                  <a:srgbClr val="FFFFFF"/>
                </a:solidFill>
              </p:grpSpPr>
              <p:sp>
                <p:nvSpPr>
                  <p:cNvPr id="88" name="Freeform 87">
                    <a:extLst>
                      <a:ext uri="{FF2B5EF4-FFF2-40B4-BE49-F238E27FC236}">
                        <a16:creationId xmlns:a16="http://schemas.microsoft.com/office/drawing/2014/main" id="{D80018BA-CB31-F544-B4F1-132B46FCB80F}"/>
                      </a:ext>
                    </a:extLst>
                  </p:cNvPr>
                  <p:cNvSpPr/>
                  <p:nvPr/>
                </p:nvSpPr>
                <p:spPr>
                  <a:xfrm>
                    <a:off x="3736024" y="3587137"/>
                    <a:ext cx="108436" cy="107889"/>
                  </a:xfrm>
                  <a:custGeom>
                    <a:avLst/>
                    <a:gdLst>
                      <a:gd name="connsiteX0" fmla="*/ 54205 w 108436"/>
                      <a:gd name="connsiteY0" fmla="*/ 107890 h 107889"/>
                      <a:gd name="connsiteX1" fmla="*/ 15853 w 108436"/>
                      <a:gd name="connsiteY1" fmla="*/ 91996 h 107889"/>
                      <a:gd name="connsiteX2" fmla="*/ 15853 w 108436"/>
                      <a:gd name="connsiteY2" fmla="*/ 91996 h 107889"/>
                      <a:gd name="connsiteX3" fmla="*/ 15853 w 108436"/>
                      <a:gd name="connsiteY3" fmla="*/ 15329 h 107889"/>
                      <a:gd name="connsiteX4" fmla="*/ 92556 w 108436"/>
                      <a:gd name="connsiteY4" fmla="*/ 15329 h 107889"/>
                      <a:gd name="connsiteX5" fmla="*/ 92533 w 108436"/>
                      <a:gd name="connsiteY5" fmla="*/ 92021 h 107889"/>
                      <a:gd name="connsiteX6" fmla="*/ 54205 w 108436"/>
                      <a:gd name="connsiteY6" fmla="*/ 107890 h 107889"/>
                      <a:gd name="connsiteX7" fmla="*/ 29261 w 108436"/>
                      <a:gd name="connsiteY7" fmla="*/ 78782 h 107889"/>
                      <a:gd name="connsiteX8" fmla="*/ 79523 w 108436"/>
                      <a:gd name="connsiteY8" fmla="*/ 79579 h 107889"/>
                      <a:gd name="connsiteX9" fmla="*/ 80322 w 108436"/>
                      <a:gd name="connsiteY9" fmla="*/ 29341 h 107889"/>
                      <a:gd name="connsiteX10" fmla="*/ 79523 w 108436"/>
                      <a:gd name="connsiteY10" fmla="*/ 28543 h 107889"/>
                      <a:gd name="connsiteX11" fmla="*/ 29261 w 108436"/>
                      <a:gd name="connsiteY11" fmla="*/ 28543 h 107889"/>
                      <a:gd name="connsiteX12" fmla="*/ 29261 w 108436"/>
                      <a:gd name="connsiteY12" fmla="*/ 78782 h 107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08436" h="107889">
                        <a:moveTo>
                          <a:pt x="54205" y="107890"/>
                        </a:moveTo>
                        <a:cubicBezTo>
                          <a:pt x="39816" y="107896"/>
                          <a:pt x="26015" y="102181"/>
                          <a:pt x="15853" y="91996"/>
                        </a:cubicBezTo>
                        <a:lnTo>
                          <a:pt x="15853" y="91996"/>
                        </a:lnTo>
                        <a:cubicBezTo>
                          <a:pt x="-5284" y="70809"/>
                          <a:pt x="-5284" y="36515"/>
                          <a:pt x="15853" y="15329"/>
                        </a:cubicBezTo>
                        <a:cubicBezTo>
                          <a:pt x="37333" y="-5110"/>
                          <a:pt x="71076" y="-5110"/>
                          <a:pt x="92556" y="15329"/>
                        </a:cubicBezTo>
                        <a:cubicBezTo>
                          <a:pt x="113740" y="36515"/>
                          <a:pt x="113728" y="70847"/>
                          <a:pt x="92533" y="92021"/>
                        </a:cubicBezTo>
                        <a:cubicBezTo>
                          <a:pt x="82365" y="102174"/>
                          <a:pt x="68580" y="107884"/>
                          <a:pt x="54205" y="107890"/>
                        </a:cubicBezTo>
                        <a:close/>
                        <a:moveTo>
                          <a:pt x="29261" y="78782"/>
                        </a:moveTo>
                        <a:cubicBezTo>
                          <a:pt x="42919" y="92875"/>
                          <a:pt x="65423" y="93230"/>
                          <a:pt x="79523" y="79579"/>
                        </a:cubicBezTo>
                        <a:cubicBezTo>
                          <a:pt x="93623" y="65929"/>
                          <a:pt x="93981" y="43434"/>
                          <a:pt x="80322" y="29341"/>
                        </a:cubicBezTo>
                        <a:cubicBezTo>
                          <a:pt x="80059" y="29073"/>
                          <a:pt x="79794" y="28805"/>
                          <a:pt x="79523" y="28543"/>
                        </a:cubicBezTo>
                        <a:cubicBezTo>
                          <a:pt x="65454" y="15136"/>
                          <a:pt x="43330" y="15136"/>
                          <a:pt x="29261" y="28543"/>
                        </a:cubicBezTo>
                        <a:cubicBezTo>
                          <a:pt x="15418" y="42430"/>
                          <a:pt x="15418" y="64894"/>
                          <a:pt x="29261" y="787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89" name="Freeform 88">
                    <a:extLst>
                      <a:ext uri="{FF2B5EF4-FFF2-40B4-BE49-F238E27FC236}">
                        <a16:creationId xmlns:a16="http://schemas.microsoft.com/office/drawing/2014/main" id="{674D8552-FFE6-6948-9C3D-D98C01E42ECD}"/>
                      </a:ext>
                    </a:extLst>
                  </p:cNvPr>
                  <p:cNvSpPr/>
                  <p:nvPr/>
                </p:nvSpPr>
                <p:spPr>
                  <a:xfrm>
                    <a:off x="3687272" y="3537331"/>
                    <a:ext cx="82689" cy="82837"/>
                  </a:xfrm>
                  <a:custGeom>
                    <a:avLst/>
                    <a:gdLst>
                      <a:gd name="connsiteX0" fmla="*/ 82690 w 82689"/>
                      <a:gd name="connsiteY0" fmla="*/ 69623 h 82837"/>
                      <a:gd name="connsiteX1" fmla="*/ 69469 w 82689"/>
                      <a:gd name="connsiteY1" fmla="*/ 82838 h 82837"/>
                      <a:gd name="connsiteX2" fmla="*/ 58743 w 82689"/>
                      <a:gd name="connsiteY2" fmla="*/ 72117 h 82837"/>
                      <a:gd name="connsiteX3" fmla="*/ 0 w 82689"/>
                      <a:gd name="connsiteY3" fmla="*/ 13214 h 82837"/>
                      <a:gd name="connsiteX4" fmla="*/ 13220 w 82689"/>
                      <a:gd name="connsiteY4" fmla="*/ 0 h 82837"/>
                      <a:gd name="connsiteX5" fmla="*/ 72213 w 82689"/>
                      <a:gd name="connsiteY5" fmla="*/ 58903 h 828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689" h="82837">
                        <a:moveTo>
                          <a:pt x="82690" y="69623"/>
                        </a:moveTo>
                        <a:lnTo>
                          <a:pt x="69469" y="82838"/>
                        </a:lnTo>
                        <a:lnTo>
                          <a:pt x="58743" y="72117"/>
                        </a:lnTo>
                        <a:lnTo>
                          <a:pt x="0" y="13214"/>
                        </a:lnTo>
                        <a:cubicBezTo>
                          <a:pt x="4638" y="9044"/>
                          <a:pt x="9050" y="4637"/>
                          <a:pt x="13220" y="0"/>
                        </a:cubicBezTo>
                        <a:lnTo>
                          <a:pt x="72213" y="5890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90" name="Freeform 89">
                    <a:extLst>
                      <a:ext uri="{FF2B5EF4-FFF2-40B4-BE49-F238E27FC236}">
                        <a16:creationId xmlns:a16="http://schemas.microsoft.com/office/drawing/2014/main" id="{20E8B30F-6E63-7549-ACBF-7920E66D8B87}"/>
                      </a:ext>
                    </a:extLst>
                  </p:cNvPr>
                  <p:cNvSpPr/>
                  <p:nvPr/>
                </p:nvSpPr>
                <p:spPr>
                  <a:xfrm>
                    <a:off x="3309704" y="3160483"/>
                    <a:ext cx="108461" cy="107889"/>
                  </a:xfrm>
                  <a:custGeom>
                    <a:avLst/>
                    <a:gdLst>
                      <a:gd name="connsiteX0" fmla="*/ 54230 w 108461"/>
                      <a:gd name="connsiteY0" fmla="*/ 107890 h 107889"/>
                      <a:gd name="connsiteX1" fmla="*/ 0 w 108461"/>
                      <a:gd name="connsiteY1" fmla="*/ 53637 h 107889"/>
                      <a:gd name="connsiteX2" fmla="*/ 15879 w 108461"/>
                      <a:gd name="connsiteY2" fmla="*/ 15329 h 107889"/>
                      <a:gd name="connsiteX3" fmla="*/ 92582 w 108461"/>
                      <a:gd name="connsiteY3" fmla="*/ 15329 h 107889"/>
                      <a:gd name="connsiteX4" fmla="*/ 92582 w 108461"/>
                      <a:gd name="connsiteY4" fmla="*/ 15329 h 107889"/>
                      <a:gd name="connsiteX5" fmla="*/ 92559 w 108461"/>
                      <a:gd name="connsiteY5" fmla="*/ 92020 h 107889"/>
                      <a:gd name="connsiteX6" fmla="*/ 54230 w 108461"/>
                      <a:gd name="connsiteY6" fmla="*/ 107890 h 107889"/>
                      <a:gd name="connsiteX7" fmla="*/ 54230 w 108461"/>
                      <a:gd name="connsiteY7" fmla="*/ 18133 h 107889"/>
                      <a:gd name="connsiteX8" fmla="*/ 18668 w 108461"/>
                      <a:gd name="connsiteY8" fmla="*/ 53394 h 107889"/>
                      <a:gd name="connsiteX9" fmla="*/ 53947 w 108461"/>
                      <a:gd name="connsiteY9" fmla="*/ 88941 h 107889"/>
                      <a:gd name="connsiteX10" fmla="*/ 89509 w 108461"/>
                      <a:gd name="connsiteY10" fmla="*/ 53681 h 107889"/>
                      <a:gd name="connsiteX11" fmla="*/ 79174 w 108461"/>
                      <a:gd name="connsiteY11" fmla="*/ 28543 h 107889"/>
                      <a:gd name="connsiteX12" fmla="*/ 79174 w 108461"/>
                      <a:gd name="connsiteY12" fmla="*/ 28543 h 107889"/>
                      <a:gd name="connsiteX13" fmla="*/ 54230 w 108461"/>
                      <a:gd name="connsiteY13" fmla="*/ 18133 h 107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08461" h="107889">
                        <a:moveTo>
                          <a:pt x="54230" y="107890"/>
                        </a:moveTo>
                        <a:cubicBezTo>
                          <a:pt x="24267" y="107877"/>
                          <a:pt x="-13" y="83587"/>
                          <a:pt x="0" y="53637"/>
                        </a:cubicBezTo>
                        <a:cubicBezTo>
                          <a:pt x="6" y="39270"/>
                          <a:pt x="5717" y="25495"/>
                          <a:pt x="15879" y="15329"/>
                        </a:cubicBezTo>
                        <a:cubicBezTo>
                          <a:pt x="37359" y="-5110"/>
                          <a:pt x="71102" y="-5110"/>
                          <a:pt x="92582" y="15329"/>
                        </a:cubicBezTo>
                        <a:lnTo>
                          <a:pt x="92582" y="15329"/>
                        </a:lnTo>
                        <a:cubicBezTo>
                          <a:pt x="113763" y="36515"/>
                          <a:pt x="113753" y="70847"/>
                          <a:pt x="92559" y="92020"/>
                        </a:cubicBezTo>
                        <a:cubicBezTo>
                          <a:pt x="82391" y="102174"/>
                          <a:pt x="68606" y="107884"/>
                          <a:pt x="54230" y="107890"/>
                        </a:cubicBezTo>
                        <a:close/>
                        <a:moveTo>
                          <a:pt x="54230" y="18133"/>
                        </a:moveTo>
                        <a:cubicBezTo>
                          <a:pt x="34668" y="18052"/>
                          <a:pt x="18747" y="33841"/>
                          <a:pt x="18668" y="53394"/>
                        </a:cubicBezTo>
                        <a:cubicBezTo>
                          <a:pt x="18590" y="72947"/>
                          <a:pt x="34384" y="88860"/>
                          <a:pt x="53947" y="88941"/>
                        </a:cubicBezTo>
                        <a:cubicBezTo>
                          <a:pt x="73508" y="89016"/>
                          <a:pt x="89430" y="73234"/>
                          <a:pt x="89509" y="53681"/>
                        </a:cubicBezTo>
                        <a:cubicBezTo>
                          <a:pt x="89546" y="44263"/>
                          <a:pt x="85828" y="35212"/>
                          <a:pt x="79174" y="28543"/>
                        </a:cubicBezTo>
                        <a:lnTo>
                          <a:pt x="79174" y="28543"/>
                        </a:lnTo>
                        <a:cubicBezTo>
                          <a:pt x="72556" y="21923"/>
                          <a:pt x="63592" y="18183"/>
                          <a:pt x="54230" y="1813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91" name="Freeform 90">
                    <a:extLst>
                      <a:ext uri="{FF2B5EF4-FFF2-40B4-BE49-F238E27FC236}">
                        <a16:creationId xmlns:a16="http://schemas.microsoft.com/office/drawing/2014/main" id="{E5BB6838-94C9-A74E-A0DD-6F4276C76989}"/>
                      </a:ext>
                    </a:extLst>
                  </p:cNvPr>
                  <p:cNvSpPr/>
                  <p:nvPr/>
                </p:nvSpPr>
                <p:spPr>
                  <a:xfrm>
                    <a:off x="3384077" y="3234777"/>
                    <a:ext cx="82814" cy="82837"/>
                  </a:xfrm>
                  <a:custGeom>
                    <a:avLst/>
                    <a:gdLst>
                      <a:gd name="connsiteX0" fmla="*/ 82814 w 82814"/>
                      <a:gd name="connsiteY0" fmla="*/ 69624 h 82837"/>
                      <a:gd name="connsiteX1" fmla="*/ 69594 w 82814"/>
                      <a:gd name="connsiteY1" fmla="*/ 82838 h 82837"/>
                      <a:gd name="connsiteX2" fmla="*/ 10726 w 82814"/>
                      <a:gd name="connsiteY2" fmla="*/ 23935 h 82837"/>
                      <a:gd name="connsiteX3" fmla="*/ 0 w 82814"/>
                      <a:gd name="connsiteY3" fmla="*/ 13214 h 82837"/>
                      <a:gd name="connsiteX4" fmla="*/ 13220 w 82814"/>
                      <a:gd name="connsiteY4" fmla="*/ 0 h 82837"/>
                      <a:gd name="connsiteX5" fmla="*/ 24196 w 82814"/>
                      <a:gd name="connsiteY5" fmla="*/ 10783 h 828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814" h="82837">
                        <a:moveTo>
                          <a:pt x="82814" y="69624"/>
                        </a:moveTo>
                        <a:cubicBezTo>
                          <a:pt x="78177" y="73793"/>
                          <a:pt x="73764" y="78200"/>
                          <a:pt x="69594" y="82838"/>
                        </a:cubicBezTo>
                        <a:lnTo>
                          <a:pt x="10726" y="23935"/>
                        </a:lnTo>
                        <a:lnTo>
                          <a:pt x="0" y="13214"/>
                        </a:lnTo>
                        <a:lnTo>
                          <a:pt x="13220" y="0"/>
                        </a:lnTo>
                        <a:lnTo>
                          <a:pt x="24196" y="1078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</p:grpSp>
            <p:grpSp>
              <p:nvGrpSpPr>
                <p:cNvPr id="92" name="Graphic 6">
                  <a:extLst>
                    <a:ext uri="{FF2B5EF4-FFF2-40B4-BE49-F238E27FC236}">
                      <a16:creationId xmlns:a16="http://schemas.microsoft.com/office/drawing/2014/main" id="{8AA021C3-9517-6944-ABA4-B344304DD10E}"/>
                    </a:ext>
                  </a:extLst>
                </p:cNvPr>
                <p:cNvGrpSpPr/>
                <p:nvPr/>
              </p:nvGrpSpPr>
              <p:grpSpPr>
                <a:xfrm>
                  <a:off x="3309392" y="3160686"/>
                  <a:ext cx="535331" cy="534092"/>
                  <a:chOff x="3309392" y="3160686"/>
                  <a:chExt cx="535331" cy="534092"/>
                </a:xfrm>
                <a:solidFill>
                  <a:srgbClr val="FFFFFF"/>
                </a:solidFill>
              </p:grpSpPr>
              <p:sp>
                <p:nvSpPr>
                  <p:cNvPr id="93" name="Freeform 92">
                    <a:extLst>
                      <a:ext uri="{FF2B5EF4-FFF2-40B4-BE49-F238E27FC236}">
                        <a16:creationId xmlns:a16="http://schemas.microsoft.com/office/drawing/2014/main" id="{797BA7BC-F5DB-B04F-BD3C-A62FE7274364}"/>
                      </a:ext>
                    </a:extLst>
                  </p:cNvPr>
                  <p:cNvSpPr/>
                  <p:nvPr/>
                </p:nvSpPr>
                <p:spPr>
                  <a:xfrm>
                    <a:off x="3309392" y="3586837"/>
                    <a:ext cx="108523" cy="107941"/>
                  </a:xfrm>
                  <a:custGeom>
                    <a:avLst/>
                    <a:gdLst>
                      <a:gd name="connsiteX0" fmla="*/ 54293 w 108523"/>
                      <a:gd name="connsiteY0" fmla="*/ 107941 h 107941"/>
                      <a:gd name="connsiteX1" fmla="*/ 0 w 108523"/>
                      <a:gd name="connsiteY1" fmla="*/ 53751 h 107941"/>
                      <a:gd name="connsiteX2" fmla="*/ 15879 w 108523"/>
                      <a:gd name="connsiteY2" fmla="*/ 15380 h 107941"/>
                      <a:gd name="connsiteX3" fmla="*/ 15879 w 108523"/>
                      <a:gd name="connsiteY3" fmla="*/ 15380 h 107941"/>
                      <a:gd name="connsiteX4" fmla="*/ 92644 w 108523"/>
                      <a:gd name="connsiteY4" fmla="*/ 15380 h 107941"/>
                      <a:gd name="connsiteX5" fmla="*/ 92621 w 108523"/>
                      <a:gd name="connsiteY5" fmla="*/ 92072 h 107941"/>
                      <a:gd name="connsiteX6" fmla="*/ 54293 w 108523"/>
                      <a:gd name="connsiteY6" fmla="*/ 107941 h 107941"/>
                      <a:gd name="connsiteX7" fmla="*/ 54293 w 108523"/>
                      <a:gd name="connsiteY7" fmla="*/ 18185 h 107941"/>
                      <a:gd name="connsiteX8" fmla="*/ 29349 w 108523"/>
                      <a:gd name="connsiteY8" fmla="*/ 28594 h 107941"/>
                      <a:gd name="connsiteX9" fmla="*/ 29349 w 108523"/>
                      <a:gd name="connsiteY9" fmla="*/ 28594 h 107941"/>
                      <a:gd name="connsiteX10" fmla="*/ 29356 w 108523"/>
                      <a:gd name="connsiteY10" fmla="*/ 78839 h 107941"/>
                      <a:gd name="connsiteX11" fmla="*/ 79625 w 108523"/>
                      <a:gd name="connsiteY11" fmla="*/ 78833 h 107941"/>
                      <a:gd name="connsiteX12" fmla="*/ 79617 w 108523"/>
                      <a:gd name="connsiteY12" fmla="*/ 28588 h 107941"/>
                      <a:gd name="connsiteX13" fmla="*/ 54293 w 108523"/>
                      <a:gd name="connsiteY13" fmla="*/ 18185 h 1079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08523" h="107941">
                        <a:moveTo>
                          <a:pt x="54293" y="107941"/>
                        </a:moveTo>
                        <a:cubicBezTo>
                          <a:pt x="24329" y="107966"/>
                          <a:pt x="22" y="83701"/>
                          <a:pt x="0" y="53751"/>
                        </a:cubicBezTo>
                        <a:cubicBezTo>
                          <a:pt x="-11" y="39365"/>
                          <a:pt x="5702" y="25559"/>
                          <a:pt x="15879" y="15380"/>
                        </a:cubicBezTo>
                        <a:lnTo>
                          <a:pt x="15879" y="15380"/>
                        </a:lnTo>
                        <a:cubicBezTo>
                          <a:pt x="37354" y="-5127"/>
                          <a:pt x="71169" y="-5127"/>
                          <a:pt x="92644" y="15380"/>
                        </a:cubicBezTo>
                        <a:cubicBezTo>
                          <a:pt x="113826" y="36566"/>
                          <a:pt x="113815" y="70898"/>
                          <a:pt x="92621" y="92072"/>
                        </a:cubicBezTo>
                        <a:cubicBezTo>
                          <a:pt x="82453" y="102226"/>
                          <a:pt x="68668" y="107935"/>
                          <a:pt x="54293" y="107941"/>
                        </a:cubicBezTo>
                        <a:close/>
                        <a:moveTo>
                          <a:pt x="54293" y="18185"/>
                        </a:moveTo>
                        <a:cubicBezTo>
                          <a:pt x="44920" y="18179"/>
                          <a:pt x="35936" y="21931"/>
                          <a:pt x="29349" y="28594"/>
                        </a:cubicBezTo>
                        <a:lnTo>
                          <a:pt x="29349" y="28594"/>
                        </a:lnTo>
                        <a:cubicBezTo>
                          <a:pt x="15469" y="42469"/>
                          <a:pt x="15473" y="64964"/>
                          <a:pt x="29356" y="78839"/>
                        </a:cubicBezTo>
                        <a:cubicBezTo>
                          <a:pt x="43239" y="92714"/>
                          <a:pt x="65745" y="92708"/>
                          <a:pt x="79625" y="78833"/>
                        </a:cubicBezTo>
                        <a:cubicBezTo>
                          <a:pt x="93504" y="64952"/>
                          <a:pt x="93501" y="42457"/>
                          <a:pt x="79617" y="28588"/>
                        </a:cubicBezTo>
                        <a:cubicBezTo>
                          <a:pt x="72904" y="21881"/>
                          <a:pt x="63785" y="18135"/>
                          <a:pt x="54293" y="1818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94" name="Freeform 93">
                    <a:extLst>
                      <a:ext uri="{FF2B5EF4-FFF2-40B4-BE49-F238E27FC236}">
                        <a16:creationId xmlns:a16="http://schemas.microsoft.com/office/drawing/2014/main" id="{A6278203-5D8C-C34F-B92B-7DCEED658E48}"/>
                      </a:ext>
                    </a:extLst>
                  </p:cNvPr>
                  <p:cNvSpPr/>
                  <p:nvPr/>
                </p:nvSpPr>
                <p:spPr>
                  <a:xfrm>
                    <a:off x="3384326" y="3537642"/>
                    <a:ext cx="82876" cy="82837"/>
                  </a:xfrm>
                  <a:custGeom>
                    <a:avLst/>
                    <a:gdLst>
                      <a:gd name="connsiteX0" fmla="*/ 82877 w 82876"/>
                      <a:gd name="connsiteY0" fmla="*/ 13214 h 82837"/>
                      <a:gd name="connsiteX1" fmla="*/ 13220 w 82876"/>
                      <a:gd name="connsiteY1" fmla="*/ 82838 h 82837"/>
                      <a:gd name="connsiteX2" fmla="*/ 0 w 82876"/>
                      <a:gd name="connsiteY2" fmla="*/ 69561 h 82837"/>
                      <a:gd name="connsiteX3" fmla="*/ 69594 w 82876"/>
                      <a:gd name="connsiteY3" fmla="*/ 0 h 82837"/>
                      <a:gd name="connsiteX4" fmla="*/ 82877 w 82876"/>
                      <a:gd name="connsiteY4" fmla="*/ 13214 h 828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876" h="82837">
                        <a:moveTo>
                          <a:pt x="82877" y="13214"/>
                        </a:moveTo>
                        <a:lnTo>
                          <a:pt x="13220" y="82838"/>
                        </a:lnTo>
                        <a:lnTo>
                          <a:pt x="0" y="69561"/>
                        </a:lnTo>
                        <a:lnTo>
                          <a:pt x="69594" y="0"/>
                        </a:lnTo>
                        <a:cubicBezTo>
                          <a:pt x="73769" y="4650"/>
                          <a:pt x="78204" y="9063"/>
                          <a:pt x="82877" y="1321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95" name="Freeform 94">
                    <a:extLst>
                      <a:ext uri="{FF2B5EF4-FFF2-40B4-BE49-F238E27FC236}">
                        <a16:creationId xmlns:a16="http://schemas.microsoft.com/office/drawing/2014/main" id="{292B0FAF-D6DE-3541-A67D-DF7E62E9D31B}"/>
                      </a:ext>
                    </a:extLst>
                  </p:cNvPr>
                  <p:cNvSpPr/>
                  <p:nvPr/>
                </p:nvSpPr>
                <p:spPr>
                  <a:xfrm>
                    <a:off x="3736310" y="3160686"/>
                    <a:ext cx="108413" cy="107936"/>
                  </a:xfrm>
                  <a:custGeom>
                    <a:avLst/>
                    <a:gdLst>
                      <a:gd name="connsiteX0" fmla="*/ 54230 w 108413"/>
                      <a:gd name="connsiteY0" fmla="*/ 107937 h 107936"/>
                      <a:gd name="connsiteX1" fmla="*/ 0 w 108413"/>
                      <a:gd name="connsiteY1" fmla="*/ 53684 h 107936"/>
                      <a:gd name="connsiteX2" fmla="*/ 15879 w 108413"/>
                      <a:gd name="connsiteY2" fmla="*/ 15375 h 107936"/>
                      <a:gd name="connsiteX3" fmla="*/ 92582 w 108413"/>
                      <a:gd name="connsiteY3" fmla="*/ 15375 h 107936"/>
                      <a:gd name="connsiteX4" fmla="*/ 92582 w 108413"/>
                      <a:gd name="connsiteY4" fmla="*/ 92105 h 107936"/>
                      <a:gd name="connsiteX5" fmla="*/ 92582 w 108413"/>
                      <a:gd name="connsiteY5" fmla="*/ 92105 h 107936"/>
                      <a:gd name="connsiteX6" fmla="*/ 54230 w 108413"/>
                      <a:gd name="connsiteY6" fmla="*/ 107937 h 107936"/>
                      <a:gd name="connsiteX7" fmla="*/ 54230 w 108413"/>
                      <a:gd name="connsiteY7" fmla="*/ 18243 h 107936"/>
                      <a:gd name="connsiteX8" fmla="*/ 18878 w 108413"/>
                      <a:gd name="connsiteY8" fmla="*/ 53964 h 107936"/>
                      <a:gd name="connsiteX9" fmla="*/ 29286 w 108413"/>
                      <a:gd name="connsiteY9" fmla="*/ 78890 h 107936"/>
                      <a:gd name="connsiteX10" fmla="*/ 79174 w 108413"/>
                      <a:gd name="connsiteY10" fmla="*/ 78890 h 107936"/>
                      <a:gd name="connsiteX11" fmla="*/ 79174 w 108413"/>
                      <a:gd name="connsiteY11" fmla="*/ 78890 h 107936"/>
                      <a:gd name="connsiteX12" fmla="*/ 79169 w 108413"/>
                      <a:gd name="connsiteY12" fmla="*/ 28646 h 107936"/>
                      <a:gd name="connsiteX13" fmla="*/ 54230 w 108413"/>
                      <a:gd name="connsiteY13" fmla="*/ 18243 h 1079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08413" h="107936">
                        <a:moveTo>
                          <a:pt x="54230" y="107937"/>
                        </a:moveTo>
                        <a:cubicBezTo>
                          <a:pt x="24267" y="107924"/>
                          <a:pt x="-13" y="83634"/>
                          <a:pt x="0" y="53684"/>
                        </a:cubicBezTo>
                        <a:cubicBezTo>
                          <a:pt x="6" y="39317"/>
                          <a:pt x="5717" y="25542"/>
                          <a:pt x="15879" y="15375"/>
                        </a:cubicBezTo>
                        <a:cubicBezTo>
                          <a:pt x="37333" y="-5125"/>
                          <a:pt x="71127" y="-5125"/>
                          <a:pt x="92582" y="15375"/>
                        </a:cubicBezTo>
                        <a:cubicBezTo>
                          <a:pt x="113691" y="36599"/>
                          <a:pt x="113691" y="70881"/>
                          <a:pt x="92582" y="92105"/>
                        </a:cubicBezTo>
                        <a:lnTo>
                          <a:pt x="92582" y="92105"/>
                        </a:lnTo>
                        <a:cubicBezTo>
                          <a:pt x="82398" y="102246"/>
                          <a:pt x="68607" y="107943"/>
                          <a:pt x="54230" y="107937"/>
                        </a:cubicBezTo>
                        <a:close/>
                        <a:moveTo>
                          <a:pt x="54230" y="18243"/>
                        </a:moveTo>
                        <a:cubicBezTo>
                          <a:pt x="34599" y="18349"/>
                          <a:pt x="18772" y="34343"/>
                          <a:pt x="18878" y="53964"/>
                        </a:cubicBezTo>
                        <a:cubicBezTo>
                          <a:pt x="18929" y="63320"/>
                          <a:pt x="22669" y="72277"/>
                          <a:pt x="29286" y="78890"/>
                        </a:cubicBezTo>
                        <a:cubicBezTo>
                          <a:pt x="43123" y="92516"/>
                          <a:pt x="65338" y="92516"/>
                          <a:pt x="79174" y="78890"/>
                        </a:cubicBezTo>
                        <a:lnTo>
                          <a:pt x="79174" y="78890"/>
                        </a:lnTo>
                        <a:cubicBezTo>
                          <a:pt x="93055" y="65016"/>
                          <a:pt x="93052" y="42520"/>
                          <a:pt x="79169" y="28646"/>
                        </a:cubicBezTo>
                        <a:cubicBezTo>
                          <a:pt x="72551" y="22032"/>
                          <a:pt x="63589" y="18292"/>
                          <a:pt x="54230" y="1824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  <p:sp>
                <p:nvSpPr>
                  <p:cNvPr id="96" name="Freeform 95">
                    <a:extLst>
                      <a:ext uri="{FF2B5EF4-FFF2-40B4-BE49-F238E27FC236}">
                        <a16:creationId xmlns:a16="http://schemas.microsoft.com/office/drawing/2014/main" id="{82271143-05E4-644E-95DD-5C668EC3B7F5}"/>
                      </a:ext>
                    </a:extLst>
                  </p:cNvPr>
                  <p:cNvSpPr/>
                  <p:nvPr/>
                </p:nvSpPr>
                <p:spPr>
                  <a:xfrm>
                    <a:off x="3687023" y="3234527"/>
                    <a:ext cx="82939" cy="82837"/>
                  </a:xfrm>
                  <a:custGeom>
                    <a:avLst/>
                    <a:gdLst>
                      <a:gd name="connsiteX0" fmla="*/ 82939 w 82939"/>
                      <a:gd name="connsiteY0" fmla="*/ 13214 h 82837"/>
                      <a:gd name="connsiteX1" fmla="*/ 13220 w 82939"/>
                      <a:gd name="connsiteY1" fmla="*/ 82838 h 82837"/>
                      <a:gd name="connsiteX2" fmla="*/ 0 w 82939"/>
                      <a:gd name="connsiteY2" fmla="*/ 69624 h 82837"/>
                      <a:gd name="connsiteX3" fmla="*/ 69656 w 82939"/>
                      <a:gd name="connsiteY3" fmla="*/ 0 h 828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2939" h="82837">
                        <a:moveTo>
                          <a:pt x="82939" y="13214"/>
                        </a:moveTo>
                        <a:lnTo>
                          <a:pt x="13220" y="82838"/>
                        </a:lnTo>
                        <a:cubicBezTo>
                          <a:pt x="9067" y="78188"/>
                          <a:pt x="4653" y="73775"/>
                          <a:pt x="0" y="69624"/>
                        </a:cubicBezTo>
                        <a:lnTo>
                          <a:pt x="6965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2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VN"/>
                  </a:p>
                </p:txBody>
              </p:sp>
            </p:grpSp>
          </p:grpSp>
          <p:sp>
            <p:nvSpPr>
              <p:cNvPr id="97" name="Freeform 96">
                <a:extLst>
                  <a:ext uri="{FF2B5EF4-FFF2-40B4-BE49-F238E27FC236}">
                    <a16:creationId xmlns:a16="http://schemas.microsoft.com/office/drawing/2014/main" id="{8F5FA1A4-14C5-8948-9DA6-416D83275BCF}"/>
                  </a:ext>
                </a:extLst>
              </p:cNvPr>
              <p:cNvSpPr/>
              <p:nvPr/>
            </p:nvSpPr>
            <p:spPr>
              <a:xfrm>
                <a:off x="3467639" y="3339181"/>
                <a:ext cx="234848" cy="197713"/>
              </a:xfrm>
              <a:custGeom>
                <a:avLst/>
                <a:gdLst>
                  <a:gd name="connsiteX0" fmla="*/ 87055 w 234848"/>
                  <a:gd name="connsiteY0" fmla="*/ 197713 h 197713"/>
                  <a:gd name="connsiteX1" fmla="*/ 65665 w 234848"/>
                  <a:gd name="connsiteY1" fmla="*/ 197713 h 197713"/>
                  <a:gd name="connsiteX2" fmla="*/ 49265 w 234848"/>
                  <a:gd name="connsiteY2" fmla="*/ 181258 h 197713"/>
                  <a:gd name="connsiteX3" fmla="*/ 49265 w 234848"/>
                  <a:gd name="connsiteY3" fmla="*/ 145730 h 197713"/>
                  <a:gd name="connsiteX4" fmla="*/ 16339 w 234848"/>
                  <a:gd name="connsiteY4" fmla="*/ 145730 h 197713"/>
                  <a:gd name="connsiteX5" fmla="*/ 0 w 234848"/>
                  <a:gd name="connsiteY5" fmla="*/ 129274 h 197713"/>
                  <a:gd name="connsiteX6" fmla="*/ 0 w 234848"/>
                  <a:gd name="connsiteY6" fmla="*/ 129274 h 197713"/>
                  <a:gd name="connsiteX7" fmla="*/ 0 w 234848"/>
                  <a:gd name="connsiteY7" fmla="*/ 16331 h 197713"/>
                  <a:gd name="connsiteX8" fmla="*/ 16339 w 234848"/>
                  <a:gd name="connsiteY8" fmla="*/ 0 h 197713"/>
                  <a:gd name="connsiteX9" fmla="*/ 218510 w 234848"/>
                  <a:gd name="connsiteY9" fmla="*/ 0 h 197713"/>
                  <a:gd name="connsiteX10" fmla="*/ 234849 w 234848"/>
                  <a:gd name="connsiteY10" fmla="*/ 16455 h 197713"/>
                  <a:gd name="connsiteX11" fmla="*/ 234849 w 234848"/>
                  <a:gd name="connsiteY11" fmla="*/ 16455 h 197713"/>
                  <a:gd name="connsiteX12" fmla="*/ 234849 w 234848"/>
                  <a:gd name="connsiteY12" fmla="*/ 129274 h 197713"/>
                  <a:gd name="connsiteX13" fmla="*/ 218510 w 234848"/>
                  <a:gd name="connsiteY13" fmla="*/ 145730 h 197713"/>
                  <a:gd name="connsiteX14" fmla="*/ 218510 w 234848"/>
                  <a:gd name="connsiteY14" fmla="*/ 145730 h 197713"/>
                  <a:gd name="connsiteX15" fmla="*/ 137442 w 234848"/>
                  <a:gd name="connsiteY15" fmla="*/ 145730 h 197713"/>
                  <a:gd name="connsiteX16" fmla="*/ 99465 w 234848"/>
                  <a:gd name="connsiteY16" fmla="*/ 191792 h 197713"/>
                  <a:gd name="connsiteX17" fmla="*/ 87055 w 234848"/>
                  <a:gd name="connsiteY17" fmla="*/ 197713 h 197713"/>
                  <a:gd name="connsiteX18" fmla="*/ 67973 w 234848"/>
                  <a:gd name="connsiteY18" fmla="*/ 179014 h 197713"/>
                  <a:gd name="connsiteX19" fmla="*/ 85933 w 234848"/>
                  <a:gd name="connsiteY19" fmla="*/ 179014 h 197713"/>
                  <a:gd name="connsiteX20" fmla="*/ 123848 w 234848"/>
                  <a:gd name="connsiteY20" fmla="*/ 133014 h 197713"/>
                  <a:gd name="connsiteX21" fmla="*/ 136320 w 234848"/>
                  <a:gd name="connsiteY21" fmla="*/ 126781 h 197713"/>
                  <a:gd name="connsiteX22" fmla="*/ 216141 w 234848"/>
                  <a:gd name="connsiteY22" fmla="*/ 126781 h 197713"/>
                  <a:gd name="connsiteX23" fmla="*/ 216141 w 234848"/>
                  <a:gd name="connsiteY23" fmla="*/ 18699 h 197713"/>
                  <a:gd name="connsiteX24" fmla="*/ 18708 w 234848"/>
                  <a:gd name="connsiteY24" fmla="*/ 18699 h 197713"/>
                  <a:gd name="connsiteX25" fmla="*/ 18708 w 234848"/>
                  <a:gd name="connsiteY25" fmla="*/ 127030 h 197713"/>
                  <a:gd name="connsiteX26" fmla="*/ 51510 w 234848"/>
                  <a:gd name="connsiteY26" fmla="*/ 127030 h 197713"/>
                  <a:gd name="connsiteX27" fmla="*/ 67973 w 234848"/>
                  <a:gd name="connsiteY27" fmla="*/ 143485 h 197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34848" h="197713">
                    <a:moveTo>
                      <a:pt x="87055" y="197713"/>
                    </a:moveTo>
                    <a:lnTo>
                      <a:pt x="65665" y="197713"/>
                    </a:lnTo>
                    <a:cubicBezTo>
                      <a:pt x="56598" y="197682"/>
                      <a:pt x="49265" y="190321"/>
                      <a:pt x="49265" y="181258"/>
                    </a:cubicBezTo>
                    <a:lnTo>
                      <a:pt x="49265" y="145730"/>
                    </a:lnTo>
                    <a:lnTo>
                      <a:pt x="16339" y="145730"/>
                    </a:lnTo>
                    <a:cubicBezTo>
                      <a:pt x="7281" y="145692"/>
                      <a:pt x="-34" y="138331"/>
                      <a:pt x="0" y="129274"/>
                    </a:cubicBezTo>
                    <a:cubicBezTo>
                      <a:pt x="0" y="129274"/>
                      <a:pt x="0" y="129274"/>
                      <a:pt x="0" y="129274"/>
                    </a:cubicBezTo>
                    <a:lnTo>
                      <a:pt x="0" y="16331"/>
                    </a:lnTo>
                    <a:cubicBezTo>
                      <a:pt x="0" y="7311"/>
                      <a:pt x="7315" y="0"/>
                      <a:pt x="16339" y="0"/>
                    </a:cubicBezTo>
                    <a:lnTo>
                      <a:pt x="218510" y="0"/>
                    </a:lnTo>
                    <a:cubicBezTo>
                      <a:pt x="227568" y="37"/>
                      <a:pt x="234883" y="7399"/>
                      <a:pt x="234849" y="16455"/>
                    </a:cubicBezTo>
                    <a:cubicBezTo>
                      <a:pt x="234849" y="16455"/>
                      <a:pt x="234849" y="16455"/>
                      <a:pt x="234849" y="16455"/>
                    </a:cubicBezTo>
                    <a:lnTo>
                      <a:pt x="234849" y="129274"/>
                    </a:lnTo>
                    <a:cubicBezTo>
                      <a:pt x="234883" y="138325"/>
                      <a:pt x="227568" y="145692"/>
                      <a:pt x="218510" y="145730"/>
                    </a:cubicBezTo>
                    <a:cubicBezTo>
                      <a:pt x="218510" y="145730"/>
                      <a:pt x="218510" y="145730"/>
                      <a:pt x="218510" y="145730"/>
                    </a:cubicBezTo>
                    <a:lnTo>
                      <a:pt x="137442" y="145730"/>
                    </a:lnTo>
                    <a:lnTo>
                      <a:pt x="99465" y="191792"/>
                    </a:lnTo>
                    <a:cubicBezTo>
                      <a:pt x="96396" y="195488"/>
                      <a:pt x="91860" y="197651"/>
                      <a:pt x="87055" y="197713"/>
                    </a:cubicBezTo>
                    <a:close/>
                    <a:moveTo>
                      <a:pt x="67973" y="179014"/>
                    </a:moveTo>
                    <a:lnTo>
                      <a:pt x="85933" y="179014"/>
                    </a:lnTo>
                    <a:lnTo>
                      <a:pt x="123848" y="133014"/>
                    </a:lnTo>
                    <a:cubicBezTo>
                      <a:pt x="126881" y="129199"/>
                      <a:pt x="131446" y="126918"/>
                      <a:pt x="136320" y="126781"/>
                    </a:cubicBezTo>
                    <a:lnTo>
                      <a:pt x="216141" y="126781"/>
                    </a:lnTo>
                    <a:lnTo>
                      <a:pt x="216141" y="18699"/>
                    </a:lnTo>
                    <a:lnTo>
                      <a:pt x="18708" y="18699"/>
                    </a:lnTo>
                    <a:lnTo>
                      <a:pt x="18708" y="127030"/>
                    </a:lnTo>
                    <a:lnTo>
                      <a:pt x="51510" y="127030"/>
                    </a:lnTo>
                    <a:cubicBezTo>
                      <a:pt x="60602" y="127030"/>
                      <a:pt x="67973" y="134398"/>
                      <a:pt x="67973" y="143485"/>
                    </a:cubicBezTo>
                    <a:close/>
                  </a:path>
                </a:pathLst>
              </a:custGeom>
              <a:solidFill>
                <a:srgbClr val="FFFFFF"/>
              </a:solidFill>
              <a:ln w="62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VN"/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B38BBF60-02D9-064A-B6DD-B9ED5DEC25F2}"/>
              </a:ext>
            </a:extLst>
          </p:cNvPr>
          <p:cNvGrpSpPr>
            <a:grpSpLocks/>
          </p:cNvGrpSpPr>
          <p:nvPr/>
        </p:nvGrpSpPr>
        <p:grpSpPr>
          <a:xfrm>
            <a:off x="8003859" y="828850"/>
            <a:ext cx="1831581" cy="1168266"/>
            <a:chOff x="737666" y="651520"/>
            <a:chExt cx="1831581" cy="1168266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B9461C30-0347-B24A-B769-B0A2C6EC45C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737666" y="651520"/>
              <a:ext cx="1825344" cy="4310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>
                  <a:solidFill>
                    <a:schemeClr val="accent1"/>
                  </a:solidFill>
                  <a:latin typeface="Maersk Text Light" pitchFamily="2" charset="77"/>
                </a:rPr>
                <a:t>12 million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9990608-030F-DB4E-91DD-E07F8751B40F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737667" y="1161853"/>
              <a:ext cx="1831580" cy="65793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containers carrying all kinds of goods from anywhere to everywher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91D9408-3B2C-934A-931A-A29BB5C8D753}"/>
              </a:ext>
            </a:extLst>
          </p:cNvPr>
          <p:cNvGrpSpPr>
            <a:grpSpLocks/>
          </p:cNvGrpSpPr>
          <p:nvPr/>
        </p:nvGrpSpPr>
        <p:grpSpPr>
          <a:xfrm>
            <a:off x="8897549" y="2954030"/>
            <a:ext cx="1831581" cy="1168266"/>
            <a:chOff x="737666" y="651520"/>
            <a:chExt cx="1831581" cy="1168266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256D5C1D-26C0-8A4A-96B0-0A71B7B3FB75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737666" y="651520"/>
              <a:ext cx="1825344" cy="4310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>
                  <a:solidFill>
                    <a:schemeClr val="accent1"/>
                  </a:solidFill>
                  <a:latin typeface="Maersk Text Light" pitchFamily="2" charset="77"/>
                </a:rPr>
                <a:t>100,000+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8B7A1D82-2D9A-AA42-B6AC-9318528F2114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737667" y="1161853"/>
              <a:ext cx="1831580" cy="65793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customers all over the world, large and small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805CDF4E-3CC9-2948-9616-1DF8F3369471}"/>
              </a:ext>
            </a:extLst>
          </p:cNvPr>
          <p:cNvGrpSpPr>
            <a:grpSpLocks/>
          </p:cNvGrpSpPr>
          <p:nvPr/>
        </p:nvGrpSpPr>
        <p:grpSpPr>
          <a:xfrm>
            <a:off x="7800363" y="5136634"/>
            <a:ext cx="1831581" cy="1168266"/>
            <a:chOff x="737666" y="651520"/>
            <a:chExt cx="1831581" cy="1168266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3A29D836-40A2-5245-97E0-879FEAE05743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737666" y="651520"/>
              <a:ext cx="1825344" cy="4310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>
                  <a:solidFill>
                    <a:schemeClr val="accent1"/>
                  </a:solidFill>
                  <a:latin typeface="Maersk Text Light" pitchFamily="2" charset="77"/>
                </a:rPr>
                <a:t>90,000+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D9055EA-6AAB-AF41-87BD-699E01B61B08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737667" y="1161853"/>
              <a:ext cx="1831580" cy="65793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port calls every year by our container vessels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578ECB23-04A6-F344-B8AC-B9DECE6044DB}"/>
              </a:ext>
            </a:extLst>
          </p:cNvPr>
          <p:cNvGrpSpPr>
            <a:grpSpLocks/>
          </p:cNvGrpSpPr>
          <p:nvPr/>
        </p:nvGrpSpPr>
        <p:grpSpPr>
          <a:xfrm>
            <a:off x="1606155" y="2954030"/>
            <a:ext cx="1831581" cy="1168266"/>
            <a:chOff x="737666" y="651520"/>
            <a:chExt cx="1831581" cy="1168266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AE85350-6C42-BC48-B1EC-3DFD7EF0F74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737666" y="651520"/>
              <a:ext cx="1825344" cy="4310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>
                  <a:solidFill>
                    <a:schemeClr val="accent1"/>
                  </a:solidFill>
                  <a:latin typeface="Maersk Text Light" pitchFamily="2" charset="77"/>
                </a:rPr>
                <a:t>121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14D83FAF-6C01-0047-88C8-55624675FFDF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737667" y="1161853"/>
              <a:ext cx="1831580" cy="65793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countries on all continents where we call 343 ports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B62E419-1702-2442-9E23-E8920C3C51CE}"/>
              </a:ext>
            </a:extLst>
          </p:cNvPr>
          <p:cNvGrpSpPr>
            <a:grpSpLocks/>
          </p:cNvGrpSpPr>
          <p:nvPr/>
        </p:nvGrpSpPr>
        <p:grpSpPr>
          <a:xfrm>
            <a:off x="2269663" y="4976789"/>
            <a:ext cx="2521100" cy="905133"/>
            <a:chOff x="48147" y="651520"/>
            <a:chExt cx="2521100" cy="905133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29DC30AB-0BB1-7E4D-A27F-8A801D1869C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48147" y="651520"/>
              <a:ext cx="2514863" cy="4310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ts val="2740"/>
                </a:lnSpc>
              </a:pPr>
              <a:r>
                <a:rPr lang="en-US" sz="2800" dirty="0">
                  <a:solidFill>
                    <a:schemeClr val="accent1"/>
                  </a:solidFill>
                  <a:latin typeface="Maersk Text Light" pitchFamily="2" charset="77"/>
                </a:rPr>
                <a:t>Every </a:t>
              </a:r>
            </a:p>
            <a:p>
              <a:pPr algn="ctr">
                <a:lnSpc>
                  <a:spcPts val="2740"/>
                </a:lnSpc>
              </a:pPr>
              <a:r>
                <a:rPr lang="en-US" sz="2800" dirty="0">
                  <a:solidFill>
                    <a:schemeClr val="accent1"/>
                  </a:solidFill>
                  <a:latin typeface="Maersk Text Light" pitchFamily="2" charset="77"/>
                </a:rPr>
                <a:t>6 minutes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05F4EFF-6144-3A45-B139-A0857C1D2544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48147" y="1366344"/>
              <a:ext cx="2521100" cy="19030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575" tIns="0" rIns="36575" bIns="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one port call somewhere in the world</a:t>
              </a:r>
            </a:p>
          </p:txBody>
        </p:sp>
      </p:grp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9586D37-171A-D341-8EA7-7BD614B19093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191681" y="3204694"/>
            <a:ext cx="2603426" cy="1295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575" tIns="0" rIns="36575" bIns="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of all containers moved in the worl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95453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F0EC2-8FA0-45C1-91FB-0DF3F123D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isk Landscape – Integrated Logist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EA10BF-D594-4B9E-8DEC-20D67E45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E50C600-ABC3-4A9B-A5F6-32D0141C6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256D6D2-A6D6-47EA-AFBC-393D5820FDB3}"/>
              </a:ext>
            </a:extLst>
          </p:cNvPr>
          <p:cNvGrpSpPr/>
          <p:nvPr/>
        </p:nvGrpSpPr>
        <p:grpSpPr>
          <a:xfrm>
            <a:off x="523774" y="1322519"/>
            <a:ext cx="11184555" cy="633729"/>
            <a:chOff x="977875" y="1712618"/>
            <a:chExt cx="10133231" cy="44326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32D69B-82D7-42E1-A6B5-E103576A6BE9}"/>
                </a:ext>
              </a:extLst>
            </p:cNvPr>
            <p:cNvGrpSpPr/>
            <p:nvPr/>
          </p:nvGrpSpPr>
          <p:grpSpPr>
            <a:xfrm>
              <a:off x="977875" y="1717484"/>
              <a:ext cx="670987" cy="436279"/>
              <a:chOff x="2799087" y="2380482"/>
              <a:chExt cx="670987" cy="436279"/>
            </a:xfrm>
          </p:grpSpPr>
          <p:sp>
            <p:nvSpPr>
              <p:cNvPr id="93" name="Freeform 5">
                <a:extLst>
                  <a:ext uri="{FF2B5EF4-FFF2-40B4-BE49-F238E27FC236}">
                    <a16:creationId xmlns:a16="http://schemas.microsoft.com/office/drawing/2014/main" id="{17D98C49-E3BD-41C4-A6DA-5AB4CA1561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9087" y="2380482"/>
                <a:ext cx="670987" cy="436279"/>
              </a:xfrm>
              <a:custGeom>
                <a:avLst/>
                <a:gdLst>
                  <a:gd name="T0" fmla="*/ 346 w 414"/>
                  <a:gd name="T1" fmla="*/ 261 h 270"/>
                  <a:gd name="T2" fmla="*/ 346 w 414"/>
                  <a:gd name="T3" fmla="*/ 81 h 270"/>
                  <a:gd name="T4" fmla="*/ 337 w 414"/>
                  <a:gd name="T5" fmla="*/ 72 h 270"/>
                  <a:gd name="T6" fmla="*/ 312 w 414"/>
                  <a:gd name="T7" fmla="*/ 72 h 270"/>
                  <a:gd name="T8" fmla="*/ 298 w 414"/>
                  <a:gd name="T9" fmla="*/ 75 h 270"/>
                  <a:gd name="T10" fmla="*/ 238 w 414"/>
                  <a:gd name="T11" fmla="*/ 105 h 270"/>
                  <a:gd name="T12" fmla="*/ 238 w 414"/>
                  <a:gd name="T13" fmla="*/ 81 h 270"/>
                  <a:gd name="T14" fmla="*/ 229 w 414"/>
                  <a:gd name="T15" fmla="*/ 72 h 270"/>
                  <a:gd name="T16" fmla="*/ 204 w 414"/>
                  <a:gd name="T17" fmla="*/ 72 h 270"/>
                  <a:gd name="T18" fmla="*/ 190 w 414"/>
                  <a:gd name="T19" fmla="*/ 75 h 270"/>
                  <a:gd name="T20" fmla="*/ 130 w 414"/>
                  <a:gd name="T21" fmla="*/ 105 h 270"/>
                  <a:gd name="T22" fmla="*/ 130 w 414"/>
                  <a:gd name="T23" fmla="*/ 9 h 270"/>
                  <a:gd name="T24" fmla="*/ 121 w 414"/>
                  <a:gd name="T25" fmla="*/ 0 h 270"/>
                  <a:gd name="T26" fmla="*/ 76 w 414"/>
                  <a:gd name="T27" fmla="*/ 0 h 270"/>
                  <a:gd name="T28" fmla="*/ 67 w 414"/>
                  <a:gd name="T29" fmla="*/ 9 h 270"/>
                  <a:gd name="T30" fmla="*/ 67 w 414"/>
                  <a:gd name="T31" fmla="*/ 261 h 270"/>
                  <a:gd name="T32" fmla="*/ 0 w 414"/>
                  <a:gd name="T33" fmla="*/ 261 h 270"/>
                  <a:gd name="T34" fmla="*/ 0 w 414"/>
                  <a:gd name="T35" fmla="*/ 270 h 270"/>
                  <a:gd name="T36" fmla="*/ 414 w 414"/>
                  <a:gd name="T37" fmla="*/ 270 h 270"/>
                  <a:gd name="T38" fmla="*/ 414 w 414"/>
                  <a:gd name="T39" fmla="*/ 261 h 270"/>
                  <a:gd name="T40" fmla="*/ 346 w 414"/>
                  <a:gd name="T41" fmla="*/ 261 h 270"/>
                  <a:gd name="T42" fmla="*/ 76 w 414"/>
                  <a:gd name="T43" fmla="*/ 9 h 270"/>
                  <a:gd name="T44" fmla="*/ 121 w 414"/>
                  <a:gd name="T45" fmla="*/ 9 h 270"/>
                  <a:gd name="T46" fmla="*/ 121 w 414"/>
                  <a:gd name="T47" fmla="*/ 105 h 270"/>
                  <a:gd name="T48" fmla="*/ 126 w 414"/>
                  <a:gd name="T49" fmla="*/ 112 h 270"/>
                  <a:gd name="T50" fmla="*/ 134 w 414"/>
                  <a:gd name="T51" fmla="*/ 113 h 270"/>
                  <a:gd name="T52" fmla="*/ 194 w 414"/>
                  <a:gd name="T53" fmla="*/ 83 h 270"/>
                  <a:gd name="T54" fmla="*/ 204 w 414"/>
                  <a:gd name="T55" fmla="*/ 81 h 270"/>
                  <a:gd name="T56" fmla="*/ 229 w 414"/>
                  <a:gd name="T57" fmla="*/ 81 h 270"/>
                  <a:gd name="T58" fmla="*/ 229 w 414"/>
                  <a:gd name="T59" fmla="*/ 105 h 270"/>
                  <a:gd name="T60" fmla="*/ 234 w 414"/>
                  <a:gd name="T61" fmla="*/ 112 h 270"/>
                  <a:gd name="T62" fmla="*/ 242 w 414"/>
                  <a:gd name="T63" fmla="*/ 113 h 270"/>
                  <a:gd name="T64" fmla="*/ 302 w 414"/>
                  <a:gd name="T65" fmla="*/ 83 h 270"/>
                  <a:gd name="T66" fmla="*/ 312 w 414"/>
                  <a:gd name="T67" fmla="*/ 81 h 270"/>
                  <a:gd name="T68" fmla="*/ 337 w 414"/>
                  <a:gd name="T69" fmla="*/ 81 h 270"/>
                  <a:gd name="T70" fmla="*/ 337 w 414"/>
                  <a:gd name="T71" fmla="*/ 261 h 270"/>
                  <a:gd name="T72" fmla="*/ 76 w 414"/>
                  <a:gd name="T73" fmla="*/ 261 h 270"/>
                  <a:gd name="T74" fmla="*/ 76 w 414"/>
                  <a:gd name="T75" fmla="*/ 9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14" h="270">
                    <a:moveTo>
                      <a:pt x="346" y="261"/>
                    </a:moveTo>
                    <a:cubicBezTo>
                      <a:pt x="346" y="81"/>
                      <a:pt x="346" y="81"/>
                      <a:pt x="346" y="81"/>
                    </a:cubicBezTo>
                    <a:cubicBezTo>
                      <a:pt x="346" y="76"/>
                      <a:pt x="342" y="72"/>
                      <a:pt x="337" y="72"/>
                    </a:cubicBezTo>
                    <a:cubicBezTo>
                      <a:pt x="312" y="72"/>
                      <a:pt x="312" y="72"/>
                      <a:pt x="312" y="72"/>
                    </a:cubicBezTo>
                    <a:cubicBezTo>
                      <a:pt x="307" y="72"/>
                      <a:pt x="302" y="73"/>
                      <a:pt x="298" y="75"/>
                    </a:cubicBezTo>
                    <a:cubicBezTo>
                      <a:pt x="238" y="105"/>
                      <a:pt x="238" y="105"/>
                      <a:pt x="238" y="105"/>
                    </a:cubicBezTo>
                    <a:cubicBezTo>
                      <a:pt x="238" y="81"/>
                      <a:pt x="238" y="81"/>
                      <a:pt x="238" y="81"/>
                    </a:cubicBezTo>
                    <a:cubicBezTo>
                      <a:pt x="238" y="76"/>
                      <a:pt x="234" y="72"/>
                      <a:pt x="229" y="72"/>
                    </a:cubicBezTo>
                    <a:cubicBezTo>
                      <a:pt x="204" y="72"/>
                      <a:pt x="204" y="72"/>
                      <a:pt x="204" y="72"/>
                    </a:cubicBezTo>
                    <a:cubicBezTo>
                      <a:pt x="199" y="72"/>
                      <a:pt x="194" y="73"/>
                      <a:pt x="190" y="75"/>
                    </a:cubicBezTo>
                    <a:cubicBezTo>
                      <a:pt x="130" y="105"/>
                      <a:pt x="130" y="105"/>
                      <a:pt x="130" y="105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0" y="4"/>
                      <a:pt x="126" y="0"/>
                      <a:pt x="121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1" y="0"/>
                      <a:pt x="67" y="4"/>
                      <a:pt x="67" y="9"/>
                    </a:cubicBezTo>
                    <a:cubicBezTo>
                      <a:pt x="67" y="261"/>
                      <a:pt x="67" y="261"/>
                      <a:pt x="67" y="261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4" y="261"/>
                      <a:pt x="414" y="261"/>
                      <a:pt x="414" y="261"/>
                    </a:cubicBezTo>
                    <a:lnTo>
                      <a:pt x="346" y="261"/>
                    </a:lnTo>
                    <a:close/>
                    <a:moveTo>
                      <a:pt x="76" y="9"/>
                    </a:moveTo>
                    <a:cubicBezTo>
                      <a:pt x="121" y="9"/>
                      <a:pt x="121" y="9"/>
                      <a:pt x="121" y="9"/>
                    </a:cubicBezTo>
                    <a:cubicBezTo>
                      <a:pt x="121" y="105"/>
                      <a:pt x="121" y="105"/>
                      <a:pt x="121" y="105"/>
                    </a:cubicBezTo>
                    <a:cubicBezTo>
                      <a:pt x="121" y="108"/>
                      <a:pt x="123" y="111"/>
                      <a:pt x="126" y="112"/>
                    </a:cubicBezTo>
                    <a:cubicBezTo>
                      <a:pt x="128" y="114"/>
                      <a:pt x="131" y="114"/>
                      <a:pt x="134" y="113"/>
                    </a:cubicBezTo>
                    <a:cubicBezTo>
                      <a:pt x="194" y="83"/>
                      <a:pt x="194" y="83"/>
                      <a:pt x="194" y="83"/>
                    </a:cubicBezTo>
                    <a:cubicBezTo>
                      <a:pt x="197" y="81"/>
                      <a:pt x="201" y="81"/>
                      <a:pt x="204" y="81"/>
                    </a:cubicBezTo>
                    <a:cubicBezTo>
                      <a:pt x="229" y="81"/>
                      <a:pt x="229" y="81"/>
                      <a:pt x="229" y="81"/>
                    </a:cubicBezTo>
                    <a:cubicBezTo>
                      <a:pt x="229" y="105"/>
                      <a:pt x="229" y="105"/>
                      <a:pt x="229" y="105"/>
                    </a:cubicBezTo>
                    <a:cubicBezTo>
                      <a:pt x="229" y="108"/>
                      <a:pt x="231" y="111"/>
                      <a:pt x="234" y="112"/>
                    </a:cubicBezTo>
                    <a:cubicBezTo>
                      <a:pt x="236" y="114"/>
                      <a:pt x="239" y="114"/>
                      <a:pt x="242" y="113"/>
                    </a:cubicBezTo>
                    <a:cubicBezTo>
                      <a:pt x="302" y="83"/>
                      <a:pt x="302" y="83"/>
                      <a:pt x="302" y="83"/>
                    </a:cubicBezTo>
                    <a:cubicBezTo>
                      <a:pt x="305" y="81"/>
                      <a:pt x="309" y="81"/>
                      <a:pt x="312" y="81"/>
                    </a:cubicBezTo>
                    <a:cubicBezTo>
                      <a:pt x="337" y="81"/>
                      <a:pt x="337" y="81"/>
                      <a:pt x="337" y="81"/>
                    </a:cubicBezTo>
                    <a:cubicBezTo>
                      <a:pt x="337" y="261"/>
                      <a:pt x="337" y="261"/>
                      <a:pt x="337" y="261"/>
                    </a:cubicBezTo>
                    <a:cubicBezTo>
                      <a:pt x="76" y="261"/>
                      <a:pt x="76" y="261"/>
                      <a:pt x="76" y="261"/>
                    </a:cubicBezTo>
                    <a:lnTo>
                      <a:pt x="76" y="9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94" name="Rectangle 6">
                <a:extLst>
                  <a:ext uri="{FF2B5EF4-FFF2-40B4-BE49-F238E27FC236}">
                    <a16:creationId xmlns:a16="http://schemas.microsoft.com/office/drawing/2014/main" id="{F7CC7099-4D84-41A3-8F18-1025E6898B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5136" y="2656608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95" name="Rectangle 7">
                <a:extLst>
                  <a:ext uri="{FF2B5EF4-FFF2-40B4-BE49-F238E27FC236}">
                    <a16:creationId xmlns:a16="http://schemas.microsoft.com/office/drawing/2014/main" id="{46D39A03-86CD-4EA7-8065-F4891B9F3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3497" y="2656608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96" name="Rectangle 8">
                <a:extLst>
                  <a:ext uri="{FF2B5EF4-FFF2-40B4-BE49-F238E27FC236}">
                    <a16:creationId xmlns:a16="http://schemas.microsoft.com/office/drawing/2014/main" id="{9B3A8C90-9E65-4143-818C-4260938737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9096" y="2656608"/>
                <a:ext cx="16568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97" name="Rectangle 9">
                <a:extLst>
                  <a:ext uri="{FF2B5EF4-FFF2-40B4-BE49-F238E27FC236}">
                    <a16:creationId xmlns:a16="http://schemas.microsoft.com/office/drawing/2014/main" id="{0E2187D9-BF54-4DCA-822B-D2FFEF01CC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7456" y="2656608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FCFF9BD-4818-4A21-BC1B-96089F50B1EE}"/>
                </a:ext>
              </a:extLst>
            </p:cNvPr>
            <p:cNvGrpSpPr/>
            <p:nvPr/>
          </p:nvGrpSpPr>
          <p:grpSpPr>
            <a:xfrm>
              <a:off x="2020584" y="1833456"/>
              <a:ext cx="670987" cy="320307"/>
              <a:chOff x="5085411" y="734770"/>
              <a:chExt cx="670987" cy="320307"/>
            </a:xfrm>
          </p:grpSpPr>
          <p:sp>
            <p:nvSpPr>
              <p:cNvPr id="88" name="Freeform 46">
                <a:extLst>
                  <a:ext uri="{FF2B5EF4-FFF2-40B4-BE49-F238E27FC236}">
                    <a16:creationId xmlns:a16="http://schemas.microsoft.com/office/drawing/2014/main" id="{268372CD-E080-46CC-8D2A-7180A785D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5411" y="1038509"/>
                <a:ext cx="670987" cy="16568"/>
              </a:xfrm>
              <a:custGeom>
                <a:avLst/>
                <a:gdLst>
                  <a:gd name="T0" fmla="*/ 193 w 243"/>
                  <a:gd name="T1" fmla="*/ 0 h 6"/>
                  <a:gd name="T2" fmla="*/ 113 w 243"/>
                  <a:gd name="T3" fmla="*/ 0 h 6"/>
                  <a:gd name="T4" fmla="*/ 50 w 243"/>
                  <a:gd name="T5" fmla="*/ 0 h 6"/>
                  <a:gd name="T6" fmla="*/ 0 w 243"/>
                  <a:gd name="T7" fmla="*/ 0 h 6"/>
                  <a:gd name="T8" fmla="*/ 0 w 243"/>
                  <a:gd name="T9" fmla="*/ 6 h 6"/>
                  <a:gd name="T10" fmla="*/ 243 w 243"/>
                  <a:gd name="T11" fmla="*/ 6 h 6"/>
                  <a:gd name="T12" fmla="*/ 243 w 243"/>
                  <a:gd name="T13" fmla="*/ 0 h 6"/>
                  <a:gd name="T14" fmla="*/ 193 w 243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6">
                    <a:moveTo>
                      <a:pt x="193" y="0"/>
                    </a:moveTo>
                    <a:lnTo>
                      <a:pt x="113" y="0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43" y="6"/>
                    </a:lnTo>
                    <a:lnTo>
                      <a:pt x="243" y="0"/>
                    </a:lnTo>
                    <a:lnTo>
                      <a:pt x="193" y="0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89" name="Freeform 47">
                <a:extLst>
                  <a:ext uri="{FF2B5EF4-FFF2-40B4-BE49-F238E27FC236}">
                    <a16:creationId xmlns:a16="http://schemas.microsoft.com/office/drawing/2014/main" id="{275074BD-8FD6-4B1B-8AB4-098F614937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9591" y="734770"/>
                <a:ext cx="582626" cy="303739"/>
              </a:xfrm>
              <a:custGeom>
                <a:avLst/>
                <a:gdLst>
                  <a:gd name="T0" fmla="*/ 135 w 360"/>
                  <a:gd name="T1" fmla="*/ 162 h 189"/>
                  <a:gd name="T2" fmla="*/ 197 w 360"/>
                  <a:gd name="T3" fmla="*/ 162 h 189"/>
                  <a:gd name="T4" fmla="*/ 301 w 360"/>
                  <a:gd name="T5" fmla="*/ 189 h 189"/>
                  <a:gd name="T6" fmla="*/ 351 w 360"/>
                  <a:gd name="T7" fmla="*/ 162 h 189"/>
                  <a:gd name="T8" fmla="*/ 360 w 360"/>
                  <a:gd name="T9" fmla="*/ 103 h 189"/>
                  <a:gd name="T10" fmla="*/ 358 w 360"/>
                  <a:gd name="T11" fmla="*/ 79 h 189"/>
                  <a:gd name="T12" fmla="*/ 326 w 360"/>
                  <a:gd name="T13" fmla="*/ 45 h 189"/>
                  <a:gd name="T14" fmla="*/ 243 w 360"/>
                  <a:gd name="T15" fmla="*/ 54 h 189"/>
                  <a:gd name="T16" fmla="*/ 243 w 360"/>
                  <a:gd name="T17" fmla="*/ 153 h 189"/>
                  <a:gd name="T18" fmla="*/ 225 w 360"/>
                  <a:gd name="T19" fmla="*/ 9 h 189"/>
                  <a:gd name="T20" fmla="*/ 9 w 360"/>
                  <a:gd name="T21" fmla="*/ 0 h 189"/>
                  <a:gd name="T22" fmla="*/ 0 w 360"/>
                  <a:gd name="T23" fmla="*/ 153 h 189"/>
                  <a:gd name="T24" fmla="*/ 27 w 360"/>
                  <a:gd name="T25" fmla="*/ 162 h 189"/>
                  <a:gd name="T26" fmla="*/ 89 w 360"/>
                  <a:gd name="T27" fmla="*/ 162 h 189"/>
                  <a:gd name="T28" fmla="*/ 144 w 360"/>
                  <a:gd name="T29" fmla="*/ 157 h 189"/>
                  <a:gd name="T30" fmla="*/ 189 w 360"/>
                  <a:gd name="T31" fmla="*/ 157 h 189"/>
                  <a:gd name="T32" fmla="*/ 301 w 360"/>
                  <a:gd name="T33" fmla="*/ 180 h 189"/>
                  <a:gd name="T34" fmla="*/ 301 w 360"/>
                  <a:gd name="T35" fmla="*/ 135 h 189"/>
                  <a:gd name="T36" fmla="*/ 301 w 360"/>
                  <a:gd name="T37" fmla="*/ 180 h 189"/>
                  <a:gd name="T38" fmla="*/ 326 w 360"/>
                  <a:gd name="T39" fmla="*/ 54 h 189"/>
                  <a:gd name="T40" fmla="*/ 351 w 360"/>
                  <a:gd name="T41" fmla="*/ 99 h 189"/>
                  <a:gd name="T42" fmla="*/ 252 w 360"/>
                  <a:gd name="T43" fmla="*/ 54 h 189"/>
                  <a:gd name="T44" fmla="*/ 351 w 360"/>
                  <a:gd name="T45" fmla="*/ 108 h 189"/>
                  <a:gd name="T46" fmla="*/ 332 w 360"/>
                  <a:gd name="T47" fmla="*/ 153 h 189"/>
                  <a:gd name="T48" fmla="*/ 270 w 360"/>
                  <a:gd name="T49" fmla="*/ 153 h 189"/>
                  <a:gd name="T50" fmla="*/ 252 w 360"/>
                  <a:gd name="T51" fmla="*/ 108 h 189"/>
                  <a:gd name="T52" fmla="*/ 216 w 360"/>
                  <a:gd name="T53" fmla="*/ 9 h 189"/>
                  <a:gd name="T54" fmla="*/ 197 w 360"/>
                  <a:gd name="T55" fmla="*/ 153 h 189"/>
                  <a:gd name="T56" fmla="*/ 135 w 360"/>
                  <a:gd name="T57" fmla="*/ 153 h 189"/>
                  <a:gd name="T58" fmla="*/ 58 w 360"/>
                  <a:gd name="T59" fmla="*/ 126 h 189"/>
                  <a:gd name="T60" fmla="*/ 9 w 360"/>
                  <a:gd name="T61" fmla="*/ 153 h 189"/>
                  <a:gd name="T62" fmla="*/ 58 w 360"/>
                  <a:gd name="T63" fmla="*/ 180 h 189"/>
                  <a:gd name="T64" fmla="*/ 58 w 360"/>
                  <a:gd name="T65" fmla="*/ 135 h 189"/>
                  <a:gd name="T66" fmla="*/ 58 w 360"/>
                  <a:gd name="T67" fmla="*/ 18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60" h="189">
                    <a:moveTo>
                      <a:pt x="89" y="162"/>
                    </a:moveTo>
                    <a:cubicBezTo>
                      <a:pt x="135" y="162"/>
                      <a:pt x="135" y="162"/>
                      <a:pt x="135" y="162"/>
                    </a:cubicBezTo>
                    <a:cubicBezTo>
                      <a:pt x="138" y="177"/>
                      <a:pt x="151" y="189"/>
                      <a:pt x="166" y="189"/>
                    </a:cubicBezTo>
                    <a:cubicBezTo>
                      <a:pt x="182" y="189"/>
                      <a:pt x="195" y="177"/>
                      <a:pt x="197" y="162"/>
                    </a:cubicBezTo>
                    <a:cubicBezTo>
                      <a:pt x="270" y="162"/>
                      <a:pt x="270" y="162"/>
                      <a:pt x="270" y="162"/>
                    </a:cubicBezTo>
                    <a:cubicBezTo>
                      <a:pt x="273" y="177"/>
                      <a:pt x="286" y="189"/>
                      <a:pt x="301" y="189"/>
                    </a:cubicBezTo>
                    <a:cubicBezTo>
                      <a:pt x="317" y="189"/>
                      <a:pt x="330" y="177"/>
                      <a:pt x="332" y="162"/>
                    </a:cubicBezTo>
                    <a:cubicBezTo>
                      <a:pt x="351" y="162"/>
                      <a:pt x="351" y="162"/>
                      <a:pt x="351" y="162"/>
                    </a:cubicBezTo>
                    <a:cubicBezTo>
                      <a:pt x="356" y="162"/>
                      <a:pt x="360" y="158"/>
                      <a:pt x="360" y="153"/>
                    </a:cubicBezTo>
                    <a:cubicBezTo>
                      <a:pt x="360" y="103"/>
                      <a:pt x="360" y="103"/>
                      <a:pt x="360" y="103"/>
                    </a:cubicBezTo>
                    <a:cubicBezTo>
                      <a:pt x="360" y="84"/>
                      <a:pt x="360" y="84"/>
                      <a:pt x="360" y="84"/>
                    </a:cubicBezTo>
                    <a:cubicBezTo>
                      <a:pt x="360" y="82"/>
                      <a:pt x="359" y="80"/>
                      <a:pt x="358" y="79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2" y="46"/>
                      <a:pt x="329" y="45"/>
                      <a:pt x="326" y="45"/>
                    </a:cubicBezTo>
                    <a:cubicBezTo>
                      <a:pt x="252" y="45"/>
                      <a:pt x="252" y="45"/>
                      <a:pt x="252" y="45"/>
                    </a:cubicBezTo>
                    <a:cubicBezTo>
                      <a:pt x="247" y="45"/>
                      <a:pt x="243" y="49"/>
                      <a:pt x="243" y="54"/>
                    </a:cubicBezTo>
                    <a:cubicBezTo>
                      <a:pt x="243" y="103"/>
                      <a:pt x="243" y="103"/>
                      <a:pt x="243" y="103"/>
                    </a:cubicBezTo>
                    <a:cubicBezTo>
                      <a:pt x="243" y="153"/>
                      <a:pt x="243" y="153"/>
                      <a:pt x="243" y="153"/>
                    </a:cubicBezTo>
                    <a:cubicBezTo>
                      <a:pt x="225" y="153"/>
                      <a:pt x="225" y="153"/>
                      <a:pt x="225" y="153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5" y="4"/>
                      <a:pt x="221" y="0"/>
                      <a:pt x="216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4" y="162"/>
                      <a:pt x="9" y="162"/>
                    </a:cubicBezTo>
                    <a:cubicBezTo>
                      <a:pt x="27" y="162"/>
                      <a:pt x="27" y="162"/>
                      <a:pt x="27" y="162"/>
                    </a:cubicBezTo>
                    <a:cubicBezTo>
                      <a:pt x="30" y="177"/>
                      <a:pt x="43" y="189"/>
                      <a:pt x="58" y="189"/>
                    </a:cubicBezTo>
                    <a:cubicBezTo>
                      <a:pt x="74" y="189"/>
                      <a:pt x="87" y="177"/>
                      <a:pt x="89" y="162"/>
                    </a:cubicBezTo>
                    <a:moveTo>
                      <a:pt x="166" y="180"/>
                    </a:moveTo>
                    <a:cubicBezTo>
                      <a:pt x="154" y="180"/>
                      <a:pt x="144" y="169"/>
                      <a:pt x="144" y="157"/>
                    </a:cubicBezTo>
                    <a:cubicBezTo>
                      <a:pt x="144" y="145"/>
                      <a:pt x="154" y="135"/>
                      <a:pt x="166" y="135"/>
                    </a:cubicBezTo>
                    <a:cubicBezTo>
                      <a:pt x="179" y="135"/>
                      <a:pt x="189" y="145"/>
                      <a:pt x="189" y="157"/>
                    </a:cubicBezTo>
                    <a:cubicBezTo>
                      <a:pt x="189" y="169"/>
                      <a:pt x="179" y="180"/>
                      <a:pt x="166" y="180"/>
                    </a:cubicBezTo>
                    <a:moveTo>
                      <a:pt x="301" y="180"/>
                    </a:moveTo>
                    <a:cubicBezTo>
                      <a:pt x="289" y="180"/>
                      <a:pt x="279" y="169"/>
                      <a:pt x="279" y="157"/>
                    </a:cubicBezTo>
                    <a:cubicBezTo>
                      <a:pt x="279" y="145"/>
                      <a:pt x="289" y="135"/>
                      <a:pt x="301" y="135"/>
                    </a:cubicBezTo>
                    <a:cubicBezTo>
                      <a:pt x="314" y="135"/>
                      <a:pt x="324" y="145"/>
                      <a:pt x="324" y="157"/>
                    </a:cubicBezTo>
                    <a:cubicBezTo>
                      <a:pt x="324" y="169"/>
                      <a:pt x="314" y="180"/>
                      <a:pt x="301" y="180"/>
                    </a:cubicBezTo>
                    <a:moveTo>
                      <a:pt x="252" y="54"/>
                    </a:moveTo>
                    <a:cubicBezTo>
                      <a:pt x="326" y="54"/>
                      <a:pt x="326" y="54"/>
                      <a:pt x="326" y="54"/>
                    </a:cubicBezTo>
                    <a:cubicBezTo>
                      <a:pt x="351" y="84"/>
                      <a:pt x="351" y="84"/>
                      <a:pt x="351" y="84"/>
                    </a:cubicBezTo>
                    <a:cubicBezTo>
                      <a:pt x="351" y="99"/>
                      <a:pt x="351" y="99"/>
                      <a:pt x="351" y="99"/>
                    </a:cubicBezTo>
                    <a:cubicBezTo>
                      <a:pt x="252" y="99"/>
                      <a:pt x="252" y="99"/>
                      <a:pt x="252" y="99"/>
                    </a:cubicBezTo>
                    <a:lnTo>
                      <a:pt x="252" y="54"/>
                    </a:lnTo>
                    <a:close/>
                    <a:moveTo>
                      <a:pt x="252" y="108"/>
                    </a:moveTo>
                    <a:cubicBezTo>
                      <a:pt x="351" y="108"/>
                      <a:pt x="351" y="108"/>
                      <a:pt x="351" y="108"/>
                    </a:cubicBezTo>
                    <a:cubicBezTo>
                      <a:pt x="351" y="153"/>
                      <a:pt x="351" y="153"/>
                      <a:pt x="351" y="153"/>
                    </a:cubicBezTo>
                    <a:cubicBezTo>
                      <a:pt x="332" y="153"/>
                      <a:pt x="332" y="153"/>
                      <a:pt x="332" y="153"/>
                    </a:cubicBezTo>
                    <a:cubicBezTo>
                      <a:pt x="330" y="137"/>
                      <a:pt x="317" y="126"/>
                      <a:pt x="301" y="126"/>
                    </a:cubicBezTo>
                    <a:cubicBezTo>
                      <a:pt x="286" y="126"/>
                      <a:pt x="273" y="137"/>
                      <a:pt x="270" y="153"/>
                    </a:cubicBezTo>
                    <a:cubicBezTo>
                      <a:pt x="252" y="153"/>
                      <a:pt x="252" y="153"/>
                      <a:pt x="252" y="153"/>
                    </a:cubicBezTo>
                    <a:lnTo>
                      <a:pt x="252" y="108"/>
                    </a:lnTo>
                    <a:close/>
                    <a:moveTo>
                      <a:pt x="9" y="9"/>
                    </a:moveTo>
                    <a:cubicBezTo>
                      <a:pt x="216" y="9"/>
                      <a:pt x="216" y="9"/>
                      <a:pt x="216" y="9"/>
                    </a:cubicBezTo>
                    <a:cubicBezTo>
                      <a:pt x="216" y="153"/>
                      <a:pt x="216" y="153"/>
                      <a:pt x="216" y="153"/>
                    </a:cubicBezTo>
                    <a:cubicBezTo>
                      <a:pt x="197" y="153"/>
                      <a:pt x="197" y="153"/>
                      <a:pt x="197" y="153"/>
                    </a:cubicBezTo>
                    <a:cubicBezTo>
                      <a:pt x="195" y="137"/>
                      <a:pt x="182" y="126"/>
                      <a:pt x="166" y="126"/>
                    </a:cubicBezTo>
                    <a:cubicBezTo>
                      <a:pt x="151" y="126"/>
                      <a:pt x="138" y="137"/>
                      <a:pt x="135" y="153"/>
                    </a:cubicBezTo>
                    <a:cubicBezTo>
                      <a:pt x="89" y="153"/>
                      <a:pt x="89" y="153"/>
                      <a:pt x="89" y="153"/>
                    </a:cubicBezTo>
                    <a:cubicBezTo>
                      <a:pt x="87" y="137"/>
                      <a:pt x="74" y="126"/>
                      <a:pt x="58" y="126"/>
                    </a:cubicBezTo>
                    <a:cubicBezTo>
                      <a:pt x="43" y="126"/>
                      <a:pt x="30" y="137"/>
                      <a:pt x="27" y="153"/>
                    </a:cubicBezTo>
                    <a:cubicBezTo>
                      <a:pt x="9" y="153"/>
                      <a:pt x="9" y="153"/>
                      <a:pt x="9" y="153"/>
                    </a:cubicBezTo>
                    <a:lnTo>
                      <a:pt x="9" y="9"/>
                    </a:lnTo>
                    <a:close/>
                    <a:moveTo>
                      <a:pt x="58" y="180"/>
                    </a:moveTo>
                    <a:cubicBezTo>
                      <a:pt x="46" y="180"/>
                      <a:pt x="36" y="169"/>
                      <a:pt x="36" y="157"/>
                    </a:cubicBezTo>
                    <a:cubicBezTo>
                      <a:pt x="36" y="145"/>
                      <a:pt x="46" y="135"/>
                      <a:pt x="58" y="135"/>
                    </a:cubicBezTo>
                    <a:cubicBezTo>
                      <a:pt x="71" y="135"/>
                      <a:pt x="81" y="145"/>
                      <a:pt x="81" y="157"/>
                    </a:cubicBezTo>
                    <a:cubicBezTo>
                      <a:pt x="81" y="169"/>
                      <a:pt x="71" y="180"/>
                      <a:pt x="58" y="180"/>
                    </a:cubicBezTo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90" name="Rectangle 48">
                <a:extLst>
                  <a:ext uri="{FF2B5EF4-FFF2-40B4-BE49-F238E27FC236}">
                    <a16:creationId xmlns:a16="http://schemas.microsoft.com/office/drawing/2014/main" id="{9A756BC7-C015-4003-95CC-82B44F5D1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17952" y="806563"/>
                <a:ext cx="13806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91" name="Rectangle 49">
                <a:extLst>
                  <a:ext uri="{FF2B5EF4-FFF2-40B4-BE49-F238E27FC236}">
                    <a16:creationId xmlns:a16="http://schemas.microsoft.com/office/drawing/2014/main" id="{DC639F4B-173A-47F7-A6D1-E15132C83B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1911" y="806563"/>
                <a:ext cx="13806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92" name="Rectangle 50">
                <a:extLst>
                  <a:ext uri="{FF2B5EF4-FFF2-40B4-BE49-F238E27FC236}">
                    <a16:creationId xmlns:a16="http://schemas.microsoft.com/office/drawing/2014/main" id="{DD2C73C7-D6CB-44C2-8358-F0395B3C4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3551" y="806563"/>
                <a:ext cx="16568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AC1DD7A-35D0-4B91-BDF8-36A2FA6B5528}"/>
                </a:ext>
              </a:extLst>
            </p:cNvPr>
            <p:cNvGrpSpPr/>
            <p:nvPr/>
          </p:nvGrpSpPr>
          <p:grpSpPr>
            <a:xfrm>
              <a:off x="3063293" y="1789515"/>
              <a:ext cx="524406" cy="340971"/>
              <a:chOff x="3967100" y="2380482"/>
              <a:chExt cx="670987" cy="436279"/>
            </a:xfrm>
          </p:grpSpPr>
          <p:sp>
            <p:nvSpPr>
              <p:cNvPr id="83" name="Freeform 10">
                <a:extLst>
                  <a:ext uri="{FF2B5EF4-FFF2-40B4-BE49-F238E27FC236}">
                    <a16:creationId xmlns:a16="http://schemas.microsoft.com/office/drawing/2014/main" id="{63479D86-CADD-4076-8612-E5D9CD175A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7100" y="2380482"/>
                <a:ext cx="670987" cy="436279"/>
              </a:xfrm>
              <a:custGeom>
                <a:avLst/>
                <a:gdLst>
                  <a:gd name="T0" fmla="*/ 347 w 414"/>
                  <a:gd name="T1" fmla="*/ 261 h 270"/>
                  <a:gd name="T2" fmla="*/ 347 w 414"/>
                  <a:gd name="T3" fmla="*/ 66 h 270"/>
                  <a:gd name="T4" fmla="*/ 337 w 414"/>
                  <a:gd name="T5" fmla="*/ 50 h 270"/>
                  <a:gd name="T6" fmla="*/ 242 w 414"/>
                  <a:gd name="T7" fmla="*/ 3 h 270"/>
                  <a:gd name="T8" fmla="*/ 228 w 414"/>
                  <a:gd name="T9" fmla="*/ 0 h 270"/>
                  <a:gd name="T10" fmla="*/ 186 w 414"/>
                  <a:gd name="T11" fmla="*/ 0 h 270"/>
                  <a:gd name="T12" fmla="*/ 172 w 414"/>
                  <a:gd name="T13" fmla="*/ 3 h 270"/>
                  <a:gd name="T14" fmla="*/ 77 w 414"/>
                  <a:gd name="T15" fmla="*/ 50 h 270"/>
                  <a:gd name="T16" fmla="*/ 68 w 414"/>
                  <a:gd name="T17" fmla="*/ 66 h 270"/>
                  <a:gd name="T18" fmla="*/ 68 w 414"/>
                  <a:gd name="T19" fmla="*/ 261 h 270"/>
                  <a:gd name="T20" fmla="*/ 0 w 414"/>
                  <a:gd name="T21" fmla="*/ 261 h 270"/>
                  <a:gd name="T22" fmla="*/ 0 w 414"/>
                  <a:gd name="T23" fmla="*/ 270 h 270"/>
                  <a:gd name="T24" fmla="*/ 414 w 414"/>
                  <a:gd name="T25" fmla="*/ 270 h 270"/>
                  <a:gd name="T26" fmla="*/ 414 w 414"/>
                  <a:gd name="T27" fmla="*/ 261 h 270"/>
                  <a:gd name="T28" fmla="*/ 347 w 414"/>
                  <a:gd name="T29" fmla="*/ 261 h 270"/>
                  <a:gd name="T30" fmla="*/ 284 w 414"/>
                  <a:gd name="T31" fmla="*/ 180 h 270"/>
                  <a:gd name="T32" fmla="*/ 131 w 414"/>
                  <a:gd name="T33" fmla="*/ 180 h 270"/>
                  <a:gd name="T34" fmla="*/ 131 w 414"/>
                  <a:gd name="T35" fmla="*/ 162 h 270"/>
                  <a:gd name="T36" fmla="*/ 284 w 414"/>
                  <a:gd name="T37" fmla="*/ 162 h 270"/>
                  <a:gd name="T38" fmla="*/ 284 w 414"/>
                  <a:gd name="T39" fmla="*/ 180 h 270"/>
                  <a:gd name="T40" fmla="*/ 284 w 414"/>
                  <a:gd name="T41" fmla="*/ 234 h 270"/>
                  <a:gd name="T42" fmla="*/ 131 w 414"/>
                  <a:gd name="T43" fmla="*/ 234 h 270"/>
                  <a:gd name="T44" fmla="*/ 131 w 414"/>
                  <a:gd name="T45" fmla="*/ 216 h 270"/>
                  <a:gd name="T46" fmla="*/ 284 w 414"/>
                  <a:gd name="T47" fmla="*/ 216 h 270"/>
                  <a:gd name="T48" fmla="*/ 284 w 414"/>
                  <a:gd name="T49" fmla="*/ 234 h 270"/>
                  <a:gd name="T50" fmla="*/ 284 w 414"/>
                  <a:gd name="T51" fmla="*/ 207 h 270"/>
                  <a:gd name="T52" fmla="*/ 131 w 414"/>
                  <a:gd name="T53" fmla="*/ 207 h 270"/>
                  <a:gd name="T54" fmla="*/ 131 w 414"/>
                  <a:gd name="T55" fmla="*/ 189 h 270"/>
                  <a:gd name="T56" fmla="*/ 284 w 414"/>
                  <a:gd name="T57" fmla="*/ 189 h 270"/>
                  <a:gd name="T58" fmla="*/ 284 w 414"/>
                  <a:gd name="T59" fmla="*/ 207 h 270"/>
                  <a:gd name="T60" fmla="*/ 131 w 414"/>
                  <a:gd name="T61" fmla="*/ 243 h 270"/>
                  <a:gd name="T62" fmla="*/ 284 w 414"/>
                  <a:gd name="T63" fmla="*/ 243 h 270"/>
                  <a:gd name="T64" fmla="*/ 284 w 414"/>
                  <a:gd name="T65" fmla="*/ 261 h 270"/>
                  <a:gd name="T66" fmla="*/ 131 w 414"/>
                  <a:gd name="T67" fmla="*/ 261 h 270"/>
                  <a:gd name="T68" fmla="*/ 131 w 414"/>
                  <a:gd name="T69" fmla="*/ 243 h 270"/>
                  <a:gd name="T70" fmla="*/ 293 w 414"/>
                  <a:gd name="T71" fmla="*/ 162 h 270"/>
                  <a:gd name="T72" fmla="*/ 338 w 414"/>
                  <a:gd name="T73" fmla="*/ 162 h 270"/>
                  <a:gd name="T74" fmla="*/ 338 w 414"/>
                  <a:gd name="T75" fmla="*/ 261 h 270"/>
                  <a:gd name="T76" fmla="*/ 293 w 414"/>
                  <a:gd name="T77" fmla="*/ 261 h 270"/>
                  <a:gd name="T78" fmla="*/ 293 w 414"/>
                  <a:gd name="T79" fmla="*/ 162 h 270"/>
                  <a:gd name="T80" fmla="*/ 82 w 414"/>
                  <a:gd name="T81" fmla="*/ 58 h 270"/>
                  <a:gd name="T82" fmla="*/ 176 w 414"/>
                  <a:gd name="T83" fmla="*/ 11 h 270"/>
                  <a:gd name="T84" fmla="*/ 186 w 414"/>
                  <a:gd name="T85" fmla="*/ 9 h 270"/>
                  <a:gd name="T86" fmla="*/ 228 w 414"/>
                  <a:gd name="T87" fmla="*/ 9 h 270"/>
                  <a:gd name="T88" fmla="*/ 238 w 414"/>
                  <a:gd name="T89" fmla="*/ 11 h 270"/>
                  <a:gd name="T90" fmla="*/ 333 w 414"/>
                  <a:gd name="T91" fmla="*/ 58 h 270"/>
                  <a:gd name="T92" fmla="*/ 338 w 414"/>
                  <a:gd name="T93" fmla="*/ 66 h 270"/>
                  <a:gd name="T94" fmla="*/ 338 w 414"/>
                  <a:gd name="T95" fmla="*/ 153 h 270"/>
                  <a:gd name="T96" fmla="*/ 77 w 414"/>
                  <a:gd name="T97" fmla="*/ 153 h 270"/>
                  <a:gd name="T98" fmla="*/ 77 w 414"/>
                  <a:gd name="T99" fmla="*/ 66 h 270"/>
                  <a:gd name="T100" fmla="*/ 82 w 414"/>
                  <a:gd name="T101" fmla="*/ 58 h 270"/>
                  <a:gd name="T102" fmla="*/ 77 w 414"/>
                  <a:gd name="T103" fmla="*/ 162 h 270"/>
                  <a:gd name="T104" fmla="*/ 122 w 414"/>
                  <a:gd name="T105" fmla="*/ 162 h 270"/>
                  <a:gd name="T106" fmla="*/ 122 w 414"/>
                  <a:gd name="T107" fmla="*/ 261 h 270"/>
                  <a:gd name="T108" fmla="*/ 77 w 414"/>
                  <a:gd name="T109" fmla="*/ 261 h 270"/>
                  <a:gd name="T110" fmla="*/ 77 w 414"/>
                  <a:gd name="T111" fmla="*/ 162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14" h="270">
                    <a:moveTo>
                      <a:pt x="347" y="261"/>
                    </a:moveTo>
                    <a:cubicBezTo>
                      <a:pt x="347" y="66"/>
                      <a:pt x="347" y="66"/>
                      <a:pt x="347" y="66"/>
                    </a:cubicBezTo>
                    <a:cubicBezTo>
                      <a:pt x="347" y="60"/>
                      <a:pt x="343" y="53"/>
                      <a:pt x="337" y="50"/>
                    </a:cubicBezTo>
                    <a:cubicBezTo>
                      <a:pt x="242" y="3"/>
                      <a:pt x="242" y="3"/>
                      <a:pt x="242" y="3"/>
                    </a:cubicBezTo>
                    <a:cubicBezTo>
                      <a:pt x="237" y="1"/>
                      <a:pt x="233" y="0"/>
                      <a:pt x="228" y="0"/>
                    </a:cubicBezTo>
                    <a:cubicBezTo>
                      <a:pt x="186" y="0"/>
                      <a:pt x="186" y="0"/>
                      <a:pt x="186" y="0"/>
                    </a:cubicBezTo>
                    <a:cubicBezTo>
                      <a:pt x="182" y="0"/>
                      <a:pt x="177" y="1"/>
                      <a:pt x="172" y="3"/>
                    </a:cubicBezTo>
                    <a:cubicBezTo>
                      <a:pt x="77" y="50"/>
                      <a:pt x="77" y="50"/>
                      <a:pt x="77" y="50"/>
                    </a:cubicBezTo>
                    <a:cubicBezTo>
                      <a:pt x="71" y="53"/>
                      <a:pt x="68" y="60"/>
                      <a:pt x="68" y="66"/>
                    </a:cubicBezTo>
                    <a:cubicBezTo>
                      <a:pt x="68" y="261"/>
                      <a:pt x="68" y="261"/>
                      <a:pt x="68" y="261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4" y="261"/>
                      <a:pt x="414" y="261"/>
                      <a:pt x="414" y="261"/>
                    </a:cubicBezTo>
                    <a:lnTo>
                      <a:pt x="347" y="261"/>
                    </a:lnTo>
                    <a:close/>
                    <a:moveTo>
                      <a:pt x="284" y="180"/>
                    </a:moveTo>
                    <a:cubicBezTo>
                      <a:pt x="131" y="180"/>
                      <a:pt x="131" y="180"/>
                      <a:pt x="131" y="180"/>
                    </a:cubicBezTo>
                    <a:cubicBezTo>
                      <a:pt x="131" y="162"/>
                      <a:pt x="131" y="162"/>
                      <a:pt x="131" y="162"/>
                    </a:cubicBezTo>
                    <a:cubicBezTo>
                      <a:pt x="284" y="162"/>
                      <a:pt x="284" y="162"/>
                      <a:pt x="284" y="162"/>
                    </a:cubicBezTo>
                    <a:lnTo>
                      <a:pt x="284" y="180"/>
                    </a:lnTo>
                    <a:close/>
                    <a:moveTo>
                      <a:pt x="284" y="234"/>
                    </a:moveTo>
                    <a:cubicBezTo>
                      <a:pt x="131" y="234"/>
                      <a:pt x="131" y="234"/>
                      <a:pt x="131" y="234"/>
                    </a:cubicBezTo>
                    <a:cubicBezTo>
                      <a:pt x="131" y="216"/>
                      <a:pt x="131" y="216"/>
                      <a:pt x="131" y="216"/>
                    </a:cubicBezTo>
                    <a:cubicBezTo>
                      <a:pt x="284" y="216"/>
                      <a:pt x="284" y="216"/>
                      <a:pt x="284" y="216"/>
                    </a:cubicBezTo>
                    <a:lnTo>
                      <a:pt x="284" y="234"/>
                    </a:lnTo>
                    <a:close/>
                    <a:moveTo>
                      <a:pt x="284" y="207"/>
                    </a:moveTo>
                    <a:cubicBezTo>
                      <a:pt x="131" y="207"/>
                      <a:pt x="131" y="207"/>
                      <a:pt x="131" y="207"/>
                    </a:cubicBezTo>
                    <a:cubicBezTo>
                      <a:pt x="131" y="189"/>
                      <a:pt x="131" y="189"/>
                      <a:pt x="131" y="189"/>
                    </a:cubicBezTo>
                    <a:cubicBezTo>
                      <a:pt x="284" y="189"/>
                      <a:pt x="284" y="189"/>
                      <a:pt x="284" y="189"/>
                    </a:cubicBezTo>
                    <a:lnTo>
                      <a:pt x="284" y="207"/>
                    </a:lnTo>
                    <a:close/>
                    <a:moveTo>
                      <a:pt x="131" y="243"/>
                    </a:moveTo>
                    <a:cubicBezTo>
                      <a:pt x="284" y="243"/>
                      <a:pt x="284" y="243"/>
                      <a:pt x="284" y="243"/>
                    </a:cubicBezTo>
                    <a:cubicBezTo>
                      <a:pt x="284" y="261"/>
                      <a:pt x="284" y="261"/>
                      <a:pt x="284" y="261"/>
                    </a:cubicBezTo>
                    <a:cubicBezTo>
                      <a:pt x="131" y="261"/>
                      <a:pt x="131" y="261"/>
                      <a:pt x="131" y="261"/>
                    </a:cubicBezTo>
                    <a:lnTo>
                      <a:pt x="131" y="243"/>
                    </a:lnTo>
                    <a:close/>
                    <a:moveTo>
                      <a:pt x="293" y="162"/>
                    </a:moveTo>
                    <a:cubicBezTo>
                      <a:pt x="338" y="162"/>
                      <a:pt x="338" y="162"/>
                      <a:pt x="338" y="162"/>
                    </a:cubicBezTo>
                    <a:cubicBezTo>
                      <a:pt x="338" y="261"/>
                      <a:pt x="338" y="261"/>
                      <a:pt x="338" y="261"/>
                    </a:cubicBezTo>
                    <a:cubicBezTo>
                      <a:pt x="293" y="261"/>
                      <a:pt x="293" y="261"/>
                      <a:pt x="293" y="261"/>
                    </a:cubicBezTo>
                    <a:lnTo>
                      <a:pt x="293" y="162"/>
                    </a:lnTo>
                    <a:close/>
                    <a:moveTo>
                      <a:pt x="82" y="58"/>
                    </a:moveTo>
                    <a:cubicBezTo>
                      <a:pt x="176" y="11"/>
                      <a:pt x="176" y="11"/>
                      <a:pt x="176" y="11"/>
                    </a:cubicBezTo>
                    <a:cubicBezTo>
                      <a:pt x="179" y="9"/>
                      <a:pt x="183" y="9"/>
                      <a:pt x="186" y="9"/>
                    </a:cubicBezTo>
                    <a:cubicBezTo>
                      <a:pt x="228" y="9"/>
                      <a:pt x="228" y="9"/>
                      <a:pt x="228" y="9"/>
                    </a:cubicBezTo>
                    <a:cubicBezTo>
                      <a:pt x="231" y="9"/>
                      <a:pt x="235" y="9"/>
                      <a:pt x="238" y="11"/>
                    </a:cubicBezTo>
                    <a:cubicBezTo>
                      <a:pt x="333" y="58"/>
                      <a:pt x="333" y="58"/>
                      <a:pt x="333" y="58"/>
                    </a:cubicBezTo>
                    <a:cubicBezTo>
                      <a:pt x="336" y="60"/>
                      <a:pt x="338" y="63"/>
                      <a:pt x="338" y="66"/>
                    </a:cubicBezTo>
                    <a:cubicBezTo>
                      <a:pt x="338" y="153"/>
                      <a:pt x="338" y="153"/>
                      <a:pt x="338" y="153"/>
                    </a:cubicBezTo>
                    <a:cubicBezTo>
                      <a:pt x="77" y="153"/>
                      <a:pt x="77" y="153"/>
                      <a:pt x="77" y="153"/>
                    </a:cubicBezTo>
                    <a:cubicBezTo>
                      <a:pt x="77" y="66"/>
                      <a:pt x="77" y="66"/>
                      <a:pt x="77" y="66"/>
                    </a:cubicBezTo>
                    <a:cubicBezTo>
                      <a:pt x="77" y="63"/>
                      <a:pt x="78" y="60"/>
                      <a:pt x="82" y="58"/>
                    </a:cubicBezTo>
                    <a:moveTo>
                      <a:pt x="77" y="162"/>
                    </a:moveTo>
                    <a:cubicBezTo>
                      <a:pt x="122" y="162"/>
                      <a:pt x="122" y="162"/>
                      <a:pt x="122" y="162"/>
                    </a:cubicBezTo>
                    <a:cubicBezTo>
                      <a:pt x="122" y="261"/>
                      <a:pt x="122" y="261"/>
                      <a:pt x="122" y="261"/>
                    </a:cubicBezTo>
                    <a:cubicBezTo>
                      <a:pt x="77" y="261"/>
                      <a:pt x="77" y="261"/>
                      <a:pt x="77" y="261"/>
                    </a:cubicBezTo>
                    <a:lnTo>
                      <a:pt x="77" y="162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84" name="Rectangle 11">
                <a:extLst>
                  <a:ext uri="{FF2B5EF4-FFF2-40B4-BE49-F238E27FC236}">
                    <a16:creationId xmlns:a16="http://schemas.microsoft.com/office/drawing/2014/main" id="{AC023435-4220-4847-983B-D77026B59E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8231" y="2526829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85" name="Rectangle 12">
                <a:extLst>
                  <a:ext uri="{FF2B5EF4-FFF2-40B4-BE49-F238E27FC236}">
                    <a16:creationId xmlns:a16="http://schemas.microsoft.com/office/drawing/2014/main" id="{450EC9F2-B754-4C37-B9F9-1DA43D99EE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5911" y="2526829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86" name="Rectangle 13">
                <a:extLst>
                  <a:ext uri="{FF2B5EF4-FFF2-40B4-BE49-F238E27FC236}">
                    <a16:creationId xmlns:a16="http://schemas.microsoft.com/office/drawing/2014/main" id="{7B08151B-4261-46D1-9D2F-455F082BD9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4272" y="2526829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87" name="Rectangle 14">
                <a:extLst>
                  <a:ext uri="{FF2B5EF4-FFF2-40B4-BE49-F238E27FC236}">
                    <a16:creationId xmlns:a16="http://schemas.microsoft.com/office/drawing/2014/main" id="{A436C6AA-1999-44DC-89DE-34FAD9EBB2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9871" y="2526829"/>
                <a:ext cx="16568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442BD4B-EF25-4BC4-B732-7BB6DD39FEEF}"/>
                </a:ext>
              </a:extLst>
            </p:cNvPr>
            <p:cNvGrpSpPr/>
            <p:nvPr/>
          </p:nvGrpSpPr>
          <p:grpSpPr>
            <a:xfrm>
              <a:off x="3959421" y="1833456"/>
              <a:ext cx="670987" cy="320307"/>
              <a:chOff x="5085411" y="734770"/>
              <a:chExt cx="670987" cy="320307"/>
            </a:xfrm>
          </p:grpSpPr>
          <p:sp>
            <p:nvSpPr>
              <p:cNvPr id="78" name="Freeform 46">
                <a:extLst>
                  <a:ext uri="{FF2B5EF4-FFF2-40B4-BE49-F238E27FC236}">
                    <a16:creationId xmlns:a16="http://schemas.microsoft.com/office/drawing/2014/main" id="{F72CA3FC-0D96-4800-945A-4D98B3088C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5411" y="1038509"/>
                <a:ext cx="670987" cy="16568"/>
              </a:xfrm>
              <a:custGeom>
                <a:avLst/>
                <a:gdLst>
                  <a:gd name="T0" fmla="*/ 193 w 243"/>
                  <a:gd name="T1" fmla="*/ 0 h 6"/>
                  <a:gd name="T2" fmla="*/ 113 w 243"/>
                  <a:gd name="T3" fmla="*/ 0 h 6"/>
                  <a:gd name="T4" fmla="*/ 50 w 243"/>
                  <a:gd name="T5" fmla="*/ 0 h 6"/>
                  <a:gd name="T6" fmla="*/ 0 w 243"/>
                  <a:gd name="T7" fmla="*/ 0 h 6"/>
                  <a:gd name="T8" fmla="*/ 0 w 243"/>
                  <a:gd name="T9" fmla="*/ 6 h 6"/>
                  <a:gd name="T10" fmla="*/ 243 w 243"/>
                  <a:gd name="T11" fmla="*/ 6 h 6"/>
                  <a:gd name="T12" fmla="*/ 243 w 243"/>
                  <a:gd name="T13" fmla="*/ 0 h 6"/>
                  <a:gd name="T14" fmla="*/ 193 w 243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6">
                    <a:moveTo>
                      <a:pt x="193" y="0"/>
                    </a:moveTo>
                    <a:lnTo>
                      <a:pt x="113" y="0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43" y="6"/>
                    </a:lnTo>
                    <a:lnTo>
                      <a:pt x="243" y="0"/>
                    </a:lnTo>
                    <a:lnTo>
                      <a:pt x="193" y="0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79" name="Freeform 47">
                <a:extLst>
                  <a:ext uri="{FF2B5EF4-FFF2-40B4-BE49-F238E27FC236}">
                    <a16:creationId xmlns:a16="http://schemas.microsoft.com/office/drawing/2014/main" id="{D0FDE6E3-78B3-4DAD-8466-A3923AA198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9591" y="734770"/>
                <a:ext cx="582626" cy="303739"/>
              </a:xfrm>
              <a:custGeom>
                <a:avLst/>
                <a:gdLst>
                  <a:gd name="T0" fmla="*/ 135 w 360"/>
                  <a:gd name="T1" fmla="*/ 162 h 189"/>
                  <a:gd name="T2" fmla="*/ 197 w 360"/>
                  <a:gd name="T3" fmla="*/ 162 h 189"/>
                  <a:gd name="T4" fmla="*/ 301 w 360"/>
                  <a:gd name="T5" fmla="*/ 189 h 189"/>
                  <a:gd name="T6" fmla="*/ 351 w 360"/>
                  <a:gd name="T7" fmla="*/ 162 h 189"/>
                  <a:gd name="T8" fmla="*/ 360 w 360"/>
                  <a:gd name="T9" fmla="*/ 103 h 189"/>
                  <a:gd name="T10" fmla="*/ 358 w 360"/>
                  <a:gd name="T11" fmla="*/ 79 h 189"/>
                  <a:gd name="T12" fmla="*/ 326 w 360"/>
                  <a:gd name="T13" fmla="*/ 45 h 189"/>
                  <a:gd name="T14" fmla="*/ 243 w 360"/>
                  <a:gd name="T15" fmla="*/ 54 h 189"/>
                  <a:gd name="T16" fmla="*/ 243 w 360"/>
                  <a:gd name="T17" fmla="*/ 153 h 189"/>
                  <a:gd name="T18" fmla="*/ 225 w 360"/>
                  <a:gd name="T19" fmla="*/ 9 h 189"/>
                  <a:gd name="T20" fmla="*/ 9 w 360"/>
                  <a:gd name="T21" fmla="*/ 0 h 189"/>
                  <a:gd name="T22" fmla="*/ 0 w 360"/>
                  <a:gd name="T23" fmla="*/ 153 h 189"/>
                  <a:gd name="T24" fmla="*/ 27 w 360"/>
                  <a:gd name="T25" fmla="*/ 162 h 189"/>
                  <a:gd name="T26" fmla="*/ 89 w 360"/>
                  <a:gd name="T27" fmla="*/ 162 h 189"/>
                  <a:gd name="T28" fmla="*/ 144 w 360"/>
                  <a:gd name="T29" fmla="*/ 157 h 189"/>
                  <a:gd name="T30" fmla="*/ 189 w 360"/>
                  <a:gd name="T31" fmla="*/ 157 h 189"/>
                  <a:gd name="T32" fmla="*/ 301 w 360"/>
                  <a:gd name="T33" fmla="*/ 180 h 189"/>
                  <a:gd name="T34" fmla="*/ 301 w 360"/>
                  <a:gd name="T35" fmla="*/ 135 h 189"/>
                  <a:gd name="T36" fmla="*/ 301 w 360"/>
                  <a:gd name="T37" fmla="*/ 180 h 189"/>
                  <a:gd name="T38" fmla="*/ 326 w 360"/>
                  <a:gd name="T39" fmla="*/ 54 h 189"/>
                  <a:gd name="T40" fmla="*/ 351 w 360"/>
                  <a:gd name="T41" fmla="*/ 99 h 189"/>
                  <a:gd name="T42" fmla="*/ 252 w 360"/>
                  <a:gd name="T43" fmla="*/ 54 h 189"/>
                  <a:gd name="T44" fmla="*/ 351 w 360"/>
                  <a:gd name="T45" fmla="*/ 108 h 189"/>
                  <a:gd name="T46" fmla="*/ 332 w 360"/>
                  <a:gd name="T47" fmla="*/ 153 h 189"/>
                  <a:gd name="T48" fmla="*/ 270 w 360"/>
                  <a:gd name="T49" fmla="*/ 153 h 189"/>
                  <a:gd name="T50" fmla="*/ 252 w 360"/>
                  <a:gd name="T51" fmla="*/ 108 h 189"/>
                  <a:gd name="T52" fmla="*/ 216 w 360"/>
                  <a:gd name="T53" fmla="*/ 9 h 189"/>
                  <a:gd name="T54" fmla="*/ 197 w 360"/>
                  <a:gd name="T55" fmla="*/ 153 h 189"/>
                  <a:gd name="T56" fmla="*/ 135 w 360"/>
                  <a:gd name="T57" fmla="*/ 153 h 189"/>
                  <a:gd name="T58" fmla="*/ 58 w 360"/>
                  <a:gd name="T59" fmla="*/ 126 h 189"/>
                  <a:gd name="T60" fmla="*/ 9 w 360"/>
                  <a:gd name="T61" fmla="*/ 153 h 189"/>
                  <a:gd name="T62" fmla="*/ 58 w 360"/>
                  <a:gd name="T63" fmla="*/ 180 h 189"/>
                  <a:gd name="T64" fmla="*/ 58 w 360"/>
                  <a:gd name="T65" fmla="*/ 135 h 189"/>
                  <a:gd name="T66" fmla="*/ 58 w 360"/>
                  <a:gd name="T67" fmla="*/ 18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60" h="189">
                    <a:moveTo>
                      <a:pt x="89" y="162"/>
                    </a:moveTo>
                    <a:cubicBezTo>
                      <a:pt x="135" y="162"/>
                      <a:pt x="135" y="162"/>
                      <a:pt x="135" y="162"/>
                    </a:cubicBezTo>
                    <a:cubicBezTo>
                      <a:pt x="138" y="177"/>
                      <a:pt x="151" y="189"/>
                      <a:pt x="166" y="189"/>
                    </a:cubicBezTo>
                    <a:cubicBezTo>
                      <a:pt x="182" y="189"/>
                      <a:pt x="195" y="177"/>
                      <a:pt x="197" y="162"/>
                    </a:cubicBezTo>
                    <a:cubicBezTo>
                      <a:pt x="270" y="162"/>
                      <a:pt x="270" y="162"/>
                      <a:pt x="270" y="162"/>
                    </a:cubicBezTo>
                    <a:cubicBezTo>
                      <a:pt x="273" y="177"/>
                      <a:pt x="286" y="189"/>
                      <a:pt x="301" y="189"/>
                    </a:cubicBezTo>
                    <a:cubicBezTo>
                      <a:pt x="317" y="189"/>
                      <a:pt x="330" y="177"/>
                      <a:pt x="332" y="162"/>
                    </a:cubicBezTo>
                    <a:cubicBezTo>
                      <a:pt x="351" y="162"/>
                      <a:pt x="351" y="162"/>
                      <a:pt x="351" y="162"/>
                    </a:cubicBezTo>
                    <a:cubicBezTo>
                      <a:pt x="356" y="162"/>
                      <a:pt x="360" y="158"/>
                      <a:pt x="360" y="153"/>
                    </a:cubicBezTo>
                    <a:cubicBezTo>
                      <a:pt x="360" y="103"/>
                      <a:pt x="360" y="103"/>
                      <a:pt x="360" y="103"/>
                    </a:cubicBezTo>
                    <a:cubicBezTo>
                      <a:pt x="360" y="84"/>
                      <a:pt x="360" y="84"/>
                      <a:pt x="360" y="84"/>
                    </a:cubicBezTo>
                    <a:cubicBezTo>
                      <a:pt x="360" y="82"/>
                      <a:pt x="359" y="80"/>
                      <a:pt x="358" y="79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2" y="46"/>
                      <a:pt x="329" y="45"/>
                      <a:pt x="326" y="45"/>
                    </a:cubicBezTo>
                    <a:cubicBezTo>
                      <a:pt x="252" y="45"/>
                      <a:pt x="252" y="45"/>
                      <a:pt x="252" y="45"/>
                    </a:cubicBezTo>
                    <a:cubicBezTo>
                      <a:pt x="247" y="45"/>
                      <a:pt x="243" y="49"/>
                      <a:pt x="243" y="54"/>
                    </a:cubicBezTo>
                    <a:cubicBezTo>
                      <a:pt x="243" y="103"/>
                      <a:pt x="243" y="103"/>
                      <a:pt x="243" y="103"/>
                    </a:cubicBezTo>
                    <a:cubicBezTo>
                      <a:pt x="243" y="153"/>
                      <a:pt x="243" y="153"/>
                      <a:pt x="243" y="153"/>
                    </a:cubicBezTo>
                    <a:cubicBezTo>
                      <a:pt x="225" y="153"/>
                      <a:pt x="225" y="153"/>
                      <a:pt x="225" y="153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5" y="4"/>
                      <a:pt x="221" y="0"/>
                      <a:pt x="216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4" y="162"/>
                      <a:pt x="9" y="162"/>
                    </a:cubicBezTo>
                    <a:cubicBezTo>
                      <a:pt x="27" y="162"/>
                      <a:pt x="27" y="162"/>
                      <a:pt x="27" y="162"/>
                    </a:cubicBezTo>
                    <a:cubicBezTo>
                      <a:pt x="30" y="177"/>
                      <a:pt x="43" y="189"/>
                      <a:pt x="58" y="189"/>
                    </a:cubicBezTo>
                    <a:cubicBezTo>
                      <a:pt x="74" y="189"/>
                      <a:pt x="87" y="177"/>
                      <a:pt x="89" y="162"/>
                    </a:cubicBezTo>
                    <a:moveTo>
                      <a:pt x="166" y="180"/>
                    </a:moveTo>
                    <a:cubicBezTo>
                      <a:pt x="154" y="180"/>
                      <a:pt x="144" y="169"/>
                      <a:pt x="144" y="157"/>
                    </a:cubicBezTo>
                    <a:cubicBezTo>
                      <a:pt x="144" y="145"/>
                      <a:pt x="154" y="135"/>
                      <a:pt x="166" y="135"/>
                    </a:cubicBezTo>
                    <a:cubicBezTo>
                      <a:pt x="179" y="135"/>
                      <a:pt x="189" y="145"/>
                      <a:pt x="189" y="157"/>
                    </a:cubicBezTo>
                    <a:cubicBezTo>
                      <a:pt x="189" y="169"/>
                      <a:pt x="179" y="180"/>
                      <a:pt x="166" y="180"/>
                    </a:cubicBezTo>
                    <a:moveTo>
                      <a:pt x="301" y="180"/>
                    </a:moveTo>
                    <a:cubicBezTo>
                      <a:pt x="289" y="180"/>
                      <a:pt x="279" y="169"/>
                      <a:pt x="279" y="157"/>
                    </a:cubicBezTo>
                    <a:cubicBezTo>
                      <a:pt x="279" y="145"/>
                      <a:pt x="289" y="135"/>
                      <a:pt x="301" y="135"/>
                    </a:cubicBezTo>
                    <a:cubicBezTo>
                      <a:pt x="314" y="135"/>
                      <a:pt x="324" y="145"/>
                      <a:pt x="324" y="157"/>
                    </a:cubicBezTo>
                    <a:cubicBezTo>
                      <a:pt x="324" y="169"/>
                      <a:pt x="314" y="180"/>
                      <a:pt x="301" y="180"/>
                    </a:cubicBezTo>
                    <a:moveTo>
                      <a:pt x="252" y="54"/>
                    </a:moveTo>
                    <a:cubicBezTo>
                      <a:pt x="326" y="54"/>
                      <a:pt x="326" y="54"/>
                      <a:pt x="326" y="54"/>
                    </a:cubicBezTo>
                    <a:cubicBezTo>
                      <a:pt x="351" y="84"/>
                      <a:pt x="351" y="84"/>
                      <a:pt x="351" y="84"/>
                    </a:cubicBezTo>
                    <a:cubicBezTo>
                      <a:pt x="351" y="99"/>
                      <a:pt x="351" y="99"/>
                      <a:pt x="351" y="99"/>
                    </a:cubicBezTo>
                    <a:cubicBezTo>
                      <a:pt x="252" y="99"/>
                      <a:pt x="252" y="99"/>
                      <a:pt x="252" y="99"/>
                    </a:cubicBezTo>
                    <a:lnTo>
                      <a:pt x="252" y="54"/>
                    </a:lnTo>
                    <a:close/>
                    <a:moveTo>
                      <a:pt x="252" y="108"/>
                    </a:moveTo>
                    <a:cubicBezTo>
                      <a:pt x="351" y="108"/>
                      <a:pt x="351" y="108"/>
                      <a:pt x="351" y="108"/>
                    </a:cubicBezTo>
                    <a:cubicBezTo>
                      <a:pt x="351" y="153"/>
                      <a:pt x="351" y="153"/>
                      <a:pt x="351" y="153"/>
                    </a:cubicBezTo>
                    <a:cubicBezTo>
                      <a:pt x="332" y="153"/>
                      <a:pt x="332" y="153"/>
                      <a:pt x="332" y="153"/>
                    </a:cubicBezTo>
                    <a:cubicBezTo>
                      <a:pt x="330" y="137"/>
                      <a:pt x="317" y="126"/>
                      <a:pt x="301" y="126"/>
                    </a:cubicBezTo>
                    <a:cubicBezTo>
                      <a:pt x="286" y="126"/>
                      <a:pt x="273" y="137"/>
                      <a:pt x="270" y="153"/>
                    </a:cubicBezTo>
                    <a:cubicBezTo>
                      <a:pt x="252" y="153"/>
                      <a:pt x="252" y="153"/>
                      <a:pt x="252" y="153"/>
                    </a:cubicBezTo>
                    <a:lnTo>
                      <a:pt x="252" y="108"/>
                    </a:lnTo>
                    <a:close/>
                    <a:moveTo>
                      <a:pt x="9" y="9"/>
                    </a:moveTo>
                    <a:cubicBezTo>
                      <a:pt x="216" y="9"/>
                      <a:pt x="216" y="9"/>
                      <a:pt x="216" y="9"/>
                    </a:cubicBezTo>
                    <a:cubicBezTo>
                      <a:pt x="216" y="153"/>
                      <a:pt x="216" y="153"/>
                      <a:pt x="216" y="153"/>
                    </a:cubicBezTo>
                    <a:cubicBezTo>
                      <a:pt x="197" y="153"/>
                      <a:pt x="197" y="153"/>
                      <a:pt x="197" y="153"/>
                    </a:cubicBezTo>
                    <a:cubicBezTo>
                      <a:pt x="195" y="137"/>
                      <a:pt x="182" y="126"/>
                      <a:pt x="166" y="126"/>
                    </a:cubicBezTo>
                    <a:cubicBezTo>
                      <a:pt x="151" y="126"/>
                      <a:pt x="138" y="137"/>
                      <a:pt x="135" y="153"/>
                    </a:cubicBezTo>
                    <a:cubicBezTo>
                      <a:pt x="89" y="153"/>
                      <a:pt x="89" y="153"/>
                      <a:pt x="89" y="153"/>
                    </a:cubicBezTo>
                    <a:cubicBezTo>
                      <a:pt x="87" y="137"/>
                      <a:pt x="74" y="126"/>
                      <a:pt x="58" y="126"/>
                    </a:cubicBezTo>
                    <a:cubicBezTo>
                      <a:pt x="43" y="126"/>
                      <a:pt x="30" y="137"/>
                      <a:pt x="27" y="153"/>
                    </a:cubicBezTo>
                    <a:cubicBezTo>
                      <a:pt x="9" y="153"/>
                      <a:pt x="9" y="153"/>
                      <a:pt x="9" y="153"/>
                    </a:cubicBezTo>
                    <a:lnTo>
                      <a:pt x="9" y="9"/>
                    </a:lnTo>
                    <a:close/>
                    <a:moveTo>
                      <a:pt x="58" y="180"/>
                    </a:moveTo>
                    <a:cubicBezTo>
                      <a:pt x="46" y="180"/>
                      <a:pt x="36" y="169"/>
                      <a:pt x="36" y="157"/>
                    </a:cubicBezTo>
                    <a:cubicBezTo>
                      <a:pt x="36" y="145"/>
                      <a:pt x="46" y="135"/>
                      <a:pt x="58" y="135"/>
                    </a:cubicBezTo>
                    <a:cubicBezTo>
                      <a:pt x="71" y="135"/>
                      <a:pt x="81" y="145"/>
                      <a:pt x="81" y="157"/>
                    </a:cubicBezTo>
                    <a:cubicBezTo>
                      <a:pt x="81" y="169"/>
                      <a:pt x="71" y="180"/>
                      <a:pt x="58" y="180"/>
                    </a:cubicBezTo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80" name="Rectangle 48">
                <a:extLst>
                  <a:ext uri="{FF2B5EF4-FFF2-40B4-BE49-F238E27FC236}">
                    <a16:creationId xmlns:a16="http://schemas.microsoft.com/office/drawing/2014/main" id="{A786058E-6258-4F8E-9E5B-5E2414142F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17952" y="806563"/>
                <a:ext cx="13806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81" name="Rectangle 49">
                <a:extLst>
                  <a:ext uri="{FF2B5EF4-FFF2-40B4-BE49-F238E27FC236}">
                    <a16:creationId xmlns:a16="http://schemas.microsoft.com/office/drawing/2014/main" id="{B9A820D8-1C08-49F9-89A2-8D61F659AB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1911" y="806563"/>
                <a:ext cx="13806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82" name="Rectangle 50">
                <a:extLst>
                  <a:ext uri="{FF2B5EF4-FFF2-40B4-BE49-F238E27FC236}">
                    <a16:creationId xmlns:a16="http://schemas.microsoft.com/office/drawing/2014/main" id="{2398DC83-3A3D-46AC-9ECA-73B1AF976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3551" y="806563"/>
                <a:ext cx="16568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8A518589-6016-4944-ABE4-90D705A937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1747410" y="1876838"/>
              <a:ext cx="174626" cy="164212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DB126D13-C583-404F-8D3D-966CB2D34B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2790119" y="1876838"/>
              <a:ext cx="174626" cy="164212"/>
            </a:xfrm>
            <a:prstGeom prst="rect">
              <a:avLst/>
            </a:prstGeom>
          </p:spPr>
        </p:pic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FA994663-8721-4BA4-9C05-EA9B488007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3686247" y="1876838"/>
              <a:ext cx="174626" cy="164212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F15EDC5-3E95-4F28-A621-2BE96946AC45}"/>
                </a:ext>
              </a:extLst>
            </p:cNvPr>
            <p:cNvGrpSpPr/>
            <p:nvPr/>
          </p:nvGrpSpPr>
          <p:grpSpPr>
            <a:xfrm>
              <a:off x="5239552" y="1910875"/>
              <a:ext cx="375577" cy="231775"/>
              <a:chOff x="540375" y="1563149"/>
              <a:chExt cx="613000" cy="378293"/>
            </a:xfrm>
          </p:grpSpPr>
          <p:sp>
            <p:nvSpPr>
              <p:cNvPr id="71" name="Freeform 73">
                <a:extLst>
                  <a:ext uri="{FF2B5EF4-FFF2-40B4-BE49-F238E27FC236}">
                    <a16:creationId xmlns:a16="http://schemas.microsoft.com/office/drawing/2014/main" id="{0F5E1054-2182-42CA-B46D-35AC9D82BF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375" y="1563149"/>
                <a:ext cx="613000" cy="378293"/>
              </a:xfrm>
              <a:custGeom>
                <a:avLst/>
                <a:gdLst>
                  <a:gd name="T0" fmla="*/ 261 w 378"/>
                  <a:gd name="T1" fmla="*/ 54 h 234"/>
                  <a:gd name="T2" fmla="*/ 252 w 378"/>
                  <a:gd name="T3" fmla="*/ 108 h 234"/>
                  <a:gd name="T4" fmla="*/ 234 w 378"/>
                  <a:gd name="T5" fmla="*/ 18 h 234"/>
                  <a:gd name="T6" fmla="*/ 162 w 378"/>
                  <a:gd name="T7" fmla="*/ 0 h 234"/>
                  <a:gd name="T8" fmla="*/ 144 w 378"/>
                  <a:gd name="T9" fmla="*/ 108 h 234"/>
                  <a:gd name="T10" fmla="*/ 126 w 378"/>
                  <a:gd name="T11" fmla="*/ 63 h 234"/>
                  <a:gd name="T12" fmla="*/ 9 w 378"/>
                  <a:gd name="T13" fmla="*/ 54 h 234"/>
                  <a:gd name="T14" fmla="*/ 0 w 378"/>
                  <a:gd name="T15" fmla="*/ 124 h 234"/>
                  <a:gd name="T16" fmla="*/ 17 w 378"/>
                  <a:gd name="T17" fmla="*/ 149 h 234"/>
                  <a:gd name="T18" fmla="*/ 117 w 378"/>
                  <a:gd name="T19" fmla="*/ 153 h 234"/>
                  <a:gd name="T20" fmla="*/ 126 w 378"/>
                  <a:gd name="T21" fmla="*/ 117 h 234"/>
                  <a:gd name="T22" fmla="*/ 144 w 378"/>
                  <a:gd name="T23" fmla="*/ 189 h 234"/>
                  <a:gd name="T24" fmla="*/ 184 w 378"/>
                  <a:gd name="T25" fmla="*/ 198 h 234"/>
                  <a:gd name="T26" fmla="*/ 193 w 378"/>
                  <a:gd name="T27" fmla="*/ 234 h 234"/>
                  <a:gd name="T28" fmla="*/ 225 w 378"/>
                  <a:gd name="T29" fmla="*/ 198 h 234"/>
                  <a:gd name="T30" fmla="*/ 234 w 378"/>
                  <a:gd name="T31" fmla="*/ 117 h 234"/>
                  <a:gd name="T32" fmla="*/ 252 w 378"/>
                  <a:gd name="T33" fmla="*/ 144 h 234"/>
                  <a:gd name="T34" fmla="*/ 353 w 378"/>
                  <a:gd name="T35" fmla="*/ 153 h 234"/>
                  <a:gd name="T36" fmla="*/ 376 w 378"/>
                  <a:gd name="T37" fmla="*/ 130 h 234"/>
                  <a:gd name="T38" fmla="*/ 378 w 378"/>
                  <a:gd name="T39" fmla="*/ 63 h 234"/>
                  <a:gd name="T40" fmla="*/ 117 w 378"/>
                  <a:gd name="T41" fmla="*/ 144 h 234"/>
                  <a:gd name="T42" fmla="*/ 9 w 378"/>
                  <a:gd name="T43" fmla="*/ 124 h 234"/>
                  <a:gd name="T44" fmla="*/ 117 w 378"/>
                  <a:gd name="T45" fmla="*/ 63 h 234"/>
                  <a:gd name="T46" fmla="*/ 121 w 378"/>
                  <a:gd name="T47" fmla="*/ 63 h 234"/>
                  <a:gd name="T48" fmla="*/ 117 w 378"/>
                  <a:gd name="T49" fmla="*/ 144 h 234"/>
                  <a:gd name="T50" fmla="*/ 216 w 378"/>
                  <a:gd name="T51" fmla="*/ 9 h 234"/>
                  <a:gd name="T52" fmla="*/ 225 w 378"/>
                  <a:gd name="T53" fmla="*/ 144 h 234"/>
                  <a:gd name="T54" fmla="*/ 153 w 378"/>
                  <a:gd name="T55" fmla="*/ 18 h 234"/>
                  <a:gd name="T56" fmla="*/ 225 w 378"/>
                  <a:gd name="T57" fmla="*/ 193 h 234"/>
                  <a:gd name="T58" fmla="*/ 153 w 378"/>
                  <a:gd name="T59" fmla="*/ 189 h 234"/>
                  <a:gd name="T60" fmla="*/ 225 w 378"/>
                  <a:gd name="T61" fmla="*/ 153 h 234"/>
                  <a:gd name="T62" fmla="*/ 225 w 378"/>
                  <a:gd name="T63" fmla="*/ 189 h 234"/>
                  <a:gd name="T64" fmla="*/ 369 w 378"/>
                  <a:gd name="T65" fmla="*/ 124 h 234"/>
                  <a:gd name="T66" fmla="*/ 261 w 378"/>
                  <a:gd name="T67" fmla="*/ 144 h 234"/>
                  <a:gd name="T68" fmla="*/ 369 w 378"/>
                  <a:gd name="T69" fmla="*/ 63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78" h="234">
                    <a:moveTo>
                      <a:pt x="369" y="54"/>
                    </a:moveTo>
                    <a:cubicBezTo>
                      <a:pt x="261" y="54"/>
                      <a:pt x="261" y="54"/>
                      <a:pt x="261" y="54"/>
                    </a:cubicBezTo>
                    <a:cubicBezTo>
                      <a:pt x="256" y="54"/>
                      <a:pt x="252" y="58"/>
                      <a:pt x="252" y="63"/>
                    </a:cubicBezTo>
                    <a:cubicBezTo>
                      <a:pt x="252" y="108"/>
                      <a:pt x="252" y="108"/>
                      <a:pt x="252" y="108"/>
                    </a:cubicBezTo>
                    <a:cubicBezTo>
                      <a:pt x="234" y="108"/>
                      <a:pt x="234" y="108"/>
                      <a:pt x="234" y="108"/>
                    </a:cubicBezTo>
                    <a:cubicBezTo>
                      <a:pt x="234" y="18"/>
                      <a:pt x="234" y="18"/>
                      <a:pt x="234" y="18"/>
                    </a:cubicBezTo>
                    <a:cubicBezTo>
                      <a:pt x="234" y="8"/>
                      <a:pt x="226" y="0"/>
                      <a:pt x="216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52" y="0"/>
                      <a:pt x="144" y="8"/>
                      <a:pt x="144" y="18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26" y="108"/>
                      <a:pt x="126" y="108"/>
                      <a:pt x="126" y="108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26" y="58"/>
                      <a:pt x="122" y="54"/>
                      <a:pt x="117" y="54"/>
                    </a:cubicBezTo>
                    <a:cubicBezTo>
                      <a:pt x="9" y="54"/>
                      <a:pt x="9" y="54"/>
                      <a:pt x="9" y="54"/>
                    </a:cubicBezTo>
                    <a:cubicBezTo>
                      <a:pt x="4" y="54"/>
                      <a:pt x="0" y="58"/>
                      <a:pt x="0" y="63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6"/>
                      <a:pt x="0" y="128"/>
                      <a:pt x="2" y="130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9" y="151"/>
                      <a:pt x="22" y="153"/>
                      <a:pt x="24" y="153"/>
                    </a:cubicBezTo>
                    <a:cubicBezTo>
                      <a:pt x="117" y="153"/>
                      <a:pt x="117" y="153"/>
                      <a:pt x="117" y="153"/>
                    </a:cubicBezTo>
                    <a:cubicBezTo>
                      <a:pt x="122" y="153"/>
                      <a:pt x="126" y="149"/>
                      <a:pt x="126" y="144"/>
                    </a:cubicBezTo>
                    <a:cubicBezTo>
                      <a:pt x="126" y="117"/>
                      <a:pt x="126" y="117"/>
                      <a:pt x="126" y="117"/>
                    </a:cubicBezTo>
                    <a:cubicBezTo>
                      <a:pt x="144" y="117"/>
                      <a:pt x="144" y="117"/>
                      <a:pt x="144" y="117"/>
                    </a:cubicBezTo>
                    <a:cubicBezTo>
                      <a:pt x="144" y="189"/>
                      <a:pt x="144" y="189"/>
                      <a:pt x="144" y="189"/>
                    </a:cubicBezTo>
                    <a:cubicBezTo>
                      <a:pt x="144" y="194"/>
                      <a:pt x="148" y="198"/>
                      <a:pt x="153" y="198"/>
                    </a:cubicBezTo>
                    <a:cubicBezTo>
                      <a:pt x="184" y="198"/>
                      <a:pt x="184" y="198"/>
                      <a:pt x="184" y="198"/>
                    </a:cubicBezTo>
                    <a:cubicBezTo>
                      <a:pt x="184" y="234"/>
                      <a:pt x="184" y="234"/>
                      <a:pt x="184" y="234"/>
                    </a:cubicBezTo>
                    <a:cubicBezTo>
                      <a:pt x="193" y="234"/>
                      <a:pt x="193" y="234"/>
                      <a:pt x="193" y="234"/>
                    </a:cubicBezTo>
                    <a:cubicBezTo>
                      <a:pt x="193" y="198"/>
                      <a:pt x="193" y="198"/>
                      <a:pt x="193" y="198"/>
                    </a:cubicBezTo>
                    <a:cubicBezTo>
                      <a:pt x="225" y="198"/>
                      <a:pt x="225" y="198"/>
                      <a:pt x="225" y="198"/>
                    </a:cubicBezTo>
                    <a:cubicBezTo>
                      <a:pt x="230" y="198"/>
                      <a:pt x="234" y="194"/>
                      <a:pt x="234" y="189"/>
                    </a:cubicBezTo>
                    <a:cubicBezTo>
                      <a:pt x="234" y="117"/>
                      <a:pt x="234" y="117"/>
                      <a:pt x="234" y="117"/>
                    </a:cubicBezTo>
                    <a:cubicBezTo>
                      <a:pt x="252" y="117"/>
                      <a:pt x="252" y="117"/>
                      <a:pt x="252" y="117"/>
                    </a:cubicBezTo>
                    <a:cubicBezTo>
                      <a:pt x="252" y="144"/>
                      <a:pt x="252" y="144"/>
                      <a:pt x="252" y="144"/>
                    </a:cubicBezTo>
                    <a:cubicBezTo>
                      <a:pt x="252" y="149"/>
                      <a:pt x="256" y="153"/>
                      <a:pt x="261" y="153"/>
                    </a:cubicBezTo>
                    <a:cubicBezTo>
                      <a:pt x="353" y="153"/>
                      <a:pt x="353" y="153"/>
                      <a:pt x="353" y="153"/>
                    </a:cubicBezTo>
                    <a:cubicBezTo>
                      <a:pt x="356" y="153"/>
                      <a:pt x="358" y="151"/>
                      <a:pt x="360" y="149"/>
                    </a:cubicBezTo>
                    <a:cubicBezTo>
                      <a:pt x="376" y="130"/>
                      <a:pt x="376" y="130"/>
                      <a:pt x="376" y="130"/>
                    </a:cubicBezTo>
                    <a:cubicBezTo>
                      <a:pt x="377" y="128"/>
                      <a:pt x="378" y="126"/>
                      <a:pt x="378" y="124"/>
                    </a:cubicBezTo>
                    <a:cubicBezTo>
                      <a:pt x="378" y="63"/>
                      <a:pt x="378" y="63"/>
                      <a:pt x="378" y="63"/>
                    </a:cubicBezTo>
                    <a:cubicBezTo>
                      <a:pt x="378" y="58"/>
                      <a:pt x="374" y="54"/>
                      <a:pt x="369" y="54"/>
                    </a:cubicBezTo>
                    <a:moveTo>
                      <a:pt x="117" y="144"/>
                    </a:moveTo>
                    <a:cubicBezTo>
                      <a:pt x="24" y="144"/>
                      <a:pt x="24" y="144"/>
                      <a:pt x="24" y="144"/>
                    </a:cubicBezTo>
                    <a:cubicBezTo>
                      <a:pt x="9" y="124"/>
                      <a:pt x="9" y="124"/>
                      <a:pt x="9" y="124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21" y="63"/>
                      <a:pt x="121" y="63"/>
                      <a:pt x="121" y="63"/>
                    </a:cubicBezTo>
                    <a:cubicBezTo>
                      <a:pt x="117" y="63"/>
                      <a:pt x="117" y="63"/>
                      <a:pt x="117" y="63"/>
                    </a:cubicBezTo>
                    <a:lnTo>
                      <a:pt x="117" y="144"/>
                    </a:lnTo>
                    <a:close/>
                    <a:moveTo>
                      <a:pt x="162" y="9"/>
                    </a:moveTo>
                    <a:cubicBezTo>
                      <a:pt x="216" y="9"/>
                      <a:pt x="216" y="9"/>
                      <a:pt x="216" y="9"/>
                    </a:cubicBezTo>
                    <a:cubicBezTo>
                      <a:pt x="221" y="9"/>
                      <a:pt x="225" y="13"/>
                      <a:pt x="225" y="18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153" y="144"/>
                      <a:pt x="153" y="144"/>
                      <a:pt x="153" y="144"/>
                    </a:cubicBezTo>
                    <a:cubicBezTo>
                      <a:pt x="153" y="18"/>
                      <a:pt x="153" y="18"/>
                      <a:pt x="153" y="18"/>
                    </a:cubicBezTo>
                    <a:cubicBezTo>
                      <a:pt x="153" y="13"/>
                      <a:pt x="157" y="9"/>
                      <a:pt x="162" y="9"/>
                    </a:cubicBezTo>
                    <a:moveTo>
                      <a:pt x="225" y="193"/>
                    </a:moveTo>
                    <a:cubicBezTo>
                      <a:pt x="225" y="189"/>
                      <a:pt x="225" y="189"/>
                      <a:pt x="225" y="189"/>
                    </a:cubicBezTo>
                    <a:cubicBezTo>
                      <a:pt x="153" y="189"/>
                      <a:pt x="153" y="189"/>
                      <a:pt x="153" y="189"/>
                    </a:cubicBezTo>
                    <a:cubicBezTo>
                      <a:pt x="153" y="153"/>
                      <a:pt x="153" y="153"/>
                      <a:pt x="153" y="153"/>
                    </a:cubicBezTo>
                    <a:cubicBezTo>
                      <a:pt x="225" y="153"/>
                      <a:pt x="225" y="153"/>
                      <a:pt x="225" y="153"/>
                    </a:cubicBezTo>
                    <a:cubicBezTo>
                      <a:pt x="225" y="189"/>
                      <a:pt x="225" y="189"/>
                      <a:pt x="225" y="189"/>
                    </a:cubicBezTo>
                    <a:cubicBezTo>
                      <a:pt x="225" y="189"/>
                      <a:pt x="225" y="189"/>
                      <a:pt x="225" y="189"/>
                    </a:cubicBezTo>
                    <a:lnTo>
                      <a:pt x="225" y="193"/>
                    </a:lnTo>
                    <a:close/>
                    <a:moveTo>
                      <a:pt x="369" y="124"/>
                    </a:moveTo>
                    <a:cubicBezTo>
                      <a:pt x="353" y="144"/>
                      <a:pt x="353" y="144"/>
                      <a:pt x="353" y="144"/>
                    </a:cubicBezTo>
                    <a:cubicBezTo>
                      <a:pt x="261" y="144"/>
                      <a:pt x="261" y="144"/>
                      <a:pt x="261" y="144"/>
                    </a:cubicBezTo>
                    <a:cubicBezTo>
                      <a:pt x="261" y="63"/>
                      <a:pt x="261" y="63"/>
                      <a:pt x="261" y="63"/>
                    </a:cubicBezTo>
                    <a:cubicBezTo>
                      <a:pt x="369" y="63"/>
                      <a:pt x="369" y="63"/>
                      <a:pt x="369" y="63"/>
                    </a:cubicBezTo>
                    <a:lnTo>
                      <a:pt x="369" y="124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72" name="Rectangle 74">
                <a:extLst>
                  <a:ext uri="{FF2B5EF4-FFF2-40B4-BE49-F238E27FC236}">
                    <a16:creationId xmlns:a16="http://schemas.microsoft.com/office/drawing/2014/main" id="{3D7A2F76-94DA-4E56-9E1B-A60326A30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0077" y="1709495"/>
                <a:ext cx="16568" cy="41419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73" name="Rectangle 75">
                <a:extLst>
                  <a:ext uri="{FF2B5EF4-FFF2-40B4-BE49-F238E27FC236}">
                    <a16:creationId xmlns:a16="http://schemas.microsoft.com/office/drawing/2014/main" id="{474FC8B6-B7DF-4451-BD68-2928991F1F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4258" y="1709495"/>
                <a:ext cx="13806" cy="41419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74" name="Rectangle 76">
                <a:extLst>
                  <a:ext uri="{FF2B5EF4-FFF2-40B4-BE49-F238E27FC236}">
                    <a16:creationId xmlns:a16="http://schemas.microsoft.com/office/drawing/2014/main" id="{867446BD-DFD5-4E58-B6BE-BB148CD00F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438" y="1709495"/>
                <a:ext cx="13806" cy="41419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75" name="Rectangle 77">
                <a:extLst>
                  <a:ext uri="{FF2B5EF4-FFF2-40B4-BE49-F238E27FC236}">
                    <a16:creationId xmlns:a16="http://schemas.microsoft.com/office/drawing/2014/main" id="{FF8E0CB5-24FC-4D87-B327-F38A564C1A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744" y="1709495"/>
                <a:ext cx="13806" cy="41419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76" name="Rectangle 78">
                <a:extLst>
                  <a:ext uri="{FF2B5EF4-FFF2-40B4-BE49-F238E27FC236}">
                    <a16:creationId xmlns:a16="http://schemas.microsoft.com/office/drawing/2014/main" id="{071C6F2D-AF60-4BC3-9736-0F0524B14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2924" y="1709495"/>
                <a:ext cx="13806" cy="41419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77" name="Rectangle 79">
                <a:extLst>
                  <a:ext uri="{FF2B5EF4-FFF2-40B4-BE49-F238E27FC236}">
                    <a16:creationId xmlns:a16="http://schemas.microsoft.com/office/drawing/2014/main" id="{9D97C423-87B6-4D9E-A82F-BD8E3A0B0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7104" y="1709495"/>
                <a:ext cx="13806" cy="41419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77E1027-2255-4511-A5B9-AC339D793E85}"/>
                </a:ext>
              </a:extLst>
            </p:cNvPr>
            <p:cNvGrpSpPr/>
            <p:nvPr/>
          </p:nvGrpSpPr>
          <p:grpSpPr>
            <a:xfrm>
              <a:off x="6273249" y="1891825"/>
              <a:ext cx="844090" cy="244176"/>
              <a:chOff x="9660822" y="1621135"/>
              <a:chExt cx="1107266" cy="320306"/>
            </a:xfrm>
          </p:grpSpPr>
          <p:sp>
            <p:nvSpPr>
              <p:cNvPr id="58" name="Rectangle 171">
                <a:extLst>
                  <a:ext uri="{FF2B5EF4-FFF2-40B4-BE49-F238E27FC236}">
                    <a16:creationId xmlns:a16="http://schemas.microsoft.com/office/drawing/2014/main" id="{F7417F34-C0D2-4203-AA6A-D54AAF041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5155" y="1723302"/>
                <a:ext cx="13806" cy="5798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59" name="Rectangle 172">
                <a:extLst>
                  <a:ext uri="{FF2B5EF4-FFF2-40B4-BE49-F238E27FC236}">
                    <a16:creationId xmlns:a16="http://schemas.microsoft.com/office/drawing/2014/main" id="{0F7954F5-3F21-42EE-AD16-6B96075956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9335" y="1723302"/>
                <a:ext cx="13806" cy="5798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0" name="Rectangle 173">
                <a:extLst>
                  <a:ext uri="{FF2B5EF4-FFF2-40B4-BE49-F238E27FC236}">
                    <a16:creationId xmlns:a16="http://schemas.microsoft.com/office/drawing/2014/main" id="{5EB9283E-52B8-4025-AA73-6B91EEAB3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50754" y="1723302"/>
                <a:ext cx="16568" cy="5798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1" name="Freeform 174">
                <a:extLst>
                  <a:ext uri="{FF2B5EF4-FFF2-40B4-BE49-F238E27FC236}">
                    <a16:creationId xmlns:a16="http://schemas.microsoft.com/office/drawing/2014/main" id="{A77A0348-CC52-44A2-BD9C-742E0C3458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60822" y="1621135"/>
                <a:ext cx="1107266" cy="320306"/>
              </a:xfrm>
              <a:custGeom>
                <a:avLst/>
                <a:gdLst>
                  <a:gd name="T0" fmla="*/ 639 w 684"/>
                  <a:gd name="T1" fmla="*/ 180 h 198"/>
                  <a:gd name="T2" fmla="*/ 594 w 684"/>
                  <a:gd name="T3" fmla="*/ 180 h 198"/>
                  <a:gd name="T4" fmla="*/ 623 w 684"/>
                  <a:gd name="T5" fmla="*/ 122 h 198"/>
                  <a:gd name="T6" fmla="*/ 576 w 684"/>
                  <a:gd name="T7" fmla="*/ 81 h 198"/>
                  <a:gd name="T8" fmla="*/ 504 w 684"/>
                  <a:gd name="T9" fmla="*/ 100 h 198"/>
                  <a:gd name="T10" fmla="*/ 450 w 684"/>
                  <a:gd name="T11" fmla="*/ 9 h 198"/>
                  <a:gd name="T12" fmla="*/ 333 w 684"/>
                  <a:gd name="T13" fmla="*/ 58 h 198"/>
                  <a:gd name="T14" fmla="*/ 221 w 684"/>
                  <a:gd name="T15" fmla="*/ 117 h 198"/>
                  <a:gd name="T16" fmla="*/ 189 w 684"/>
                  <a:gd name="T17" fmla="*/ 9 h 198"/>
                  <a:gd name="T18" fmla="*/ 126 w 684"/>
                  <a:gd name="T19" fmla="*/ 36 h 198"/>
                  <a:gd name="T20" fmla="*/ 77 w 684"/>
                  <a:gd name="T21" fmla="*/ 117 h 198"/>
                  <a:gd name="T22" fmla="*/ 54 w 684"/>
                  <a:gd name="T23" fmla="*/ 180 h 198"/>
                  <a:gd name="T24" fmla="*/ 9 w 684"/>
                  <a:gd name="T25" fmla="*/ 180 h 198"/>
                  <a:gd name="T26" fmla="*/ 50 w 684"/>
                  <a:gd name="T27" fmla="*/ 191 h 198"/>
                  <a:gd name="T28" fmla="*/ 108 w 684"/>
                  <a:gd name="T29" fmla="*/ 198 h 198"/>
                  <a:gd name="T30" fmla="*/ 171 w 684"/>
                  <a:gd name="T31" fmla="*/ 198 h 198"/>
                  <a:gd name="T32" fmla="*/ 230 w 684"/>
                  <a:gd name="T33" fmla="*/ 191 h 198"/>
                  <a:gd name="T34" fmla="*/ 288 w 684"/>
                  <a:gd name="T35" fmla="*/ 198 h 198"/>
                  <a:gd name="T36" fmla="*/ 351 w 684"/>
                  <a:gd name="T37" fmla="*/ 198 h 198"/>
                  <a:gd name="T38" fmla="*/ 410 w 684"/>
                  <a:gd name="T39" fmla="*/ 191 h 198"/>
                  <a:gd name="T40" fmla="*/ 468 w 684"/>
                  <a:gd name="T41" fmla="*/ 198 h 198"/>
                  <a:gd name="T42" fmla="*/ 531 w 684"/>
                  <a:gd name="T43" fmla="*/ 198 h 198"/>
                  <a:gd name="T44" fmla="*/ 590 w 684"/>
                  <a:gd name="T45" fmla="*/ 191 h 198"/>
                  <a:gd name="T46" fmla="*/ 648 w 684"/>
                  <a:gd name="T47" fmla="*/ 198 h 198"/>
                  <a:gd name="T48" fmla="*/ 495 w 684"/>
                  <a:gd name="T49" fmla="*/ 68 h 198"/>
                  <a:gd name="T50" fmla="*/ 396 w 684"/>
                  <a:gd name="T51" fmla="*/ 117 h 198"/>
                  <a:gd name="T52" fmla="*/ 441 w 684"/>
                  <a:gd name="T53" fmla="*/ 9 h 198"/>
                  <a:gd name="T54" fmla="*/ 342 w 684"/>
                  <a:gd name="T55" fmla="*/ 9 h 198"/>
                  <a:gd name="T56" fmla="*/ 387 w 684"/>
                  <a:gd name="T57" fmla="*/ 117 h 198"/>
                  <a:gd name="T58" fmla="*/ 180 w 684"/>
                  <a:gd name="T59" fmla="*/ 9 h 198"/>
                  <a:gd name="T60" fmla="*/ 108 w 684"/>
                  <a:gd name="T61" fmla="*/ 54 h 198"/>
                  <a:gd name="T62" fmla="*/ 212 w 684"/>
                  <a:gd name="T63" fmla="*/ 117 h 198"/>
                  <a:gd name="T64" fmla="*/ 490 w 684"/>
                  <a:gd name="T65" fmla="*/ 122 h 198"/>
                  <a:gd name="T66" fmla="*/ 553 w 684"/>
                  <a:gd name="T67" fmla="*/ 104 h 198"/>
                  <a:gd name="T68" fmla="*/ 621 w 684"/>
                  <a:gd name="T69" fmla="*/ 103 h 198"/>
                  <a:gd name="T70" fmla="*/ 77 w 684"/>
                  <a:gd name="T71" fmla="*/ 126 h 198"/>
                  <a:gd name="T72" fmla="*/ 531 w 684"/>
                  <a:gd name="T73" fmla="*/ 189 h 198"/>
                  <a:gd name="T74" fmla="*/ 486 w 684"/>
                  <a:gd name="T75" fmla="*/ 189 h 198"/>
                  <a:gd name="T76" fmla="*/ 441 w 684"/>
                  <a:gd name="T77" fmla="*/ 189 h 198"/>
                  <a:gd name="T78" fmla="*/ 396 w 684"/>
                  <a:gd name="T79" fmla="*/ 189 h 198"/>
                  <a:gd name="T80" fmla="*/ 351 w 684"/>
                  <a:gd name="T81" fmla="*/ 189 h 198"/>
                  <a:gd name="T82" fmla="*/ 306 w 684"/>
                  <a:gd name="T83" fmla="*/ 189 h 198"/>
                  <a:gd name="T84" fmla="*/ 261 w 684"/>
                  <a:gd name="T85" fmla="*/ 189 h 198"/>
                  <a:gd name="T86" fmla="*/ 216 w 684"/>
                  <a:gd name="T87" fmla="*/ 189 h 198"/>
                  <a:gd name="T88" fmla="*/ 171 w 684"/>
                  <a:gd name="T89" fmla="*/ 189 h 198"/>
                  <a:gd name="T90" fmla="*/ 126 w 684"/>
                  <a:gd name="T91" fmla="*/ 189 h 198"/>
                  <a:gd name="T92" fmla="*/ 81 w 684"/>
                  <a:gd name="T93" fmla="*/ 189 h 198"/>
                  <a:gd name="T94" fmla="*/ 559 w 684"/>
                  <a:gd name="T95" fmla="*/ 189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84" h="198">
                    <a:moveTo>
                      <a:pt x="675" y="180"/>
                    </a:moveTo>
                    <a:cubicBezTo>
                      <a:pt x="675" y="185"/>
                      <a:pt x="671" y="189"/>
                      <a:pt x="666" y="189"/>
                    </a:cubicBezTo>
                    <a:cubicBezTo>
                      <a:pt x="648" y="189"/>
                      <a:pt x="648" y="189"/>
                      <a:pt x="648" y="189"/>
                    </a:cubicBezTo>
                    <a:cubicBezTo>
                      <a:pt x="643" y="189"/>
                      <a:pt x="639" y="185"/>
                      <a:pt x="639" y="180"/>
                    </a:cubicBezTo>
                    <a:cubicBezTo>
                      <a:pt x="630" y="180"/>
                      <a:pt x="630" y="180"/>
                      <a:pt x="630" y="180"/>
                    </a:cubicBezTo>
                    <a:cubicBezTo>
                      <a:pt x="630" y="185"/>
                      <a:pt x="626" y="189"/>
                      <a:pt x="621" y="189"/>
                    </a:cubicBezTo>
                    <a:cubicBezTo>
                      <a:pt x="603" y="189"/>
                      <a:pt x="603" y="189"/>
                      <a:pt x="603" y="189"/>
                    </a:cubicBezTo>
                    <a:cubicBezTo>
                      <a:pt x="598" y="189"/>
                      <a:pt x="594" y="185"/>
                      <a:pt x="594" y="180"/>
                    </a:cubicBezTo>
                    <a:cubicBezTo>
                      <a:pt x="585" y="180"/>
                      <a:pt x="585" y="180"/>
                      <a:pt x="585" y="180"/>
                    </a:cubicBezTo>
                    <a:cubicBezTo>
                      <a:pt x="585" y="185"/>
                      <a:pt x="581" y="189"/>
                      <a:pt x="576" y="189"/>
                    </a:cubicBezTo>
                    <a:cubicBezTo>
                      <a:pt x="570" y="189"/>
                      <a:pt x="570" y="189"/>
                      <a:pt x="570" y="189"/>
                    </a:cubicBezTo>
                    <a:cubicBezTo>
                      <a:pt x="623" y="122"/>
                      <a:pt x="623" y="122"/>
                      <a:pt x="623" y="122"/>
                    </a:cubicBezTo>
                    <a:cubicBezTo>
                      <a:pt x="628" y="117"/>
                      <a:pt x="630" y="110"/>
                      <a:pt x="630" y="103"/>
                    </a:cubicBezTo>
                    <a:cubicBezTo>
                      <a:pt x="630" y="90"/>
                      <a:pt x="630" y="90"/>
                      <a:pt x="630" y="90"/>
                    </a:cubicBezTo>
                    <a:cubicBezTo>
                      <a:pt x="630" y="85"/>
                      <a:pt x="626" y="81"/>
                      <a:pt x="621" y="81"/>
                    </a:cubicBezTo>
                    <a:cubicBezTo>
                      <a:pt x="576" y="81"/>
                      <a:pt x="576" y="81"/>
                      <a:pt x="576" y="81"/>
                    </a:cubicBezTo>
                    <a:cubicBezTo>
                      <a:pt x="566" y="81"/>
                      <a:pt x="557" y="85"/>
                      <a:pt x="551" y="93"/>
                    </a:cubicBezTo>
                    <a:cubicBezTo>
                      <a:pt x="546" y="99"/>
                      <a:pt x="546" y="99"/>
                      <a:pt x="546" y="99"/>
                    </a:cubicBezTo>
                    <a:cubicBezTo>
                      <a:pt x="513" y="99"/>
                      <a:pt x="513" y="99"/>
                      <a:pt x="513" y="99"/>
                    </a:cubicBezTo>
                    <a:cubicBezTo>
                      <a:pt x="510" y="99"/>
                      <a:pt x="507" y="99"/>
                      <a:pt x="504" y="100"/>
                    </a:cubicBezTo>
                    <a:cubicBezTo>
                      <a:pt x="504" y="68"/>
                      <a:pt x="504" y="68"/>
                      <a:pt x="504" y="68"/>
                    </a:cubicBezTo>
                    <a:cubicBezTo>
                      <a:pt x="504" y="62"/>
                      <a:pt x="500" y="58"/>
                      <a:pt x="495" y="58"/>
                    </a:cubicBezTo>
                    <a:cubicBezTo>
                      <a:pt x="450" y="58"/>
                      <a:pt x="450" y="58"/>
                      <a:pt x="450" y="58"/>
                    </a:cubicBezTo>
                    <a:cubicBezTo>
                      <a:pt x="450" y="9"/>
                      <a:pt x="450" y="9"/>
                      <a:pt x="450" y="9"/>
                    </a:cubicBezTo>
                    <a:cubicBezTo>
                      <a:pt x="450" y="4"/>
                      <a:pt x="446" y="0"/>
                      <a:pt x="441" y="0"/>
                    </a:cubicBezTo>
                    <a:cubicBezTo>
                      <a:pt x="342" y="0"/>
                      <a:pt x="342" y="0"/>
                      <a:pt x="342" y="0"/>
                    </a:cubicBezTo>
                    <a:cubicBezTo>
                      <a:pt x="337" y="0"/>
                      <a:pt x="333" y="4"/>
                      <a:pt x="333" y="9"/>
                    </a:cubicBezTo>
                    <a:cubicBezTo>
                      <a:pt x="333" y="58"/>
                      <a:pt x="333" y="58"/>
                      <a:pt x="333" y="58"/>
                    </a:cubicBezTo>
                    <a:cubicBezTo>
                      <a:pt x="288" y="58"/>
                      <a:pt x="288" y="58"/>
                      <a:pt x="288" y="58"/>
                    </a:cubicBezTo>
                    <a:cubicBezTo>
                      <a:pt x="283" y="58"/>
                      <a:pt x="279" y="62"/>
                      <a:pt x="279" y="67"/>
                    </a:cubicBezTo>
                    <a:cubicBezTo>
                      <a:pt x="279" y="117"/>
                      <a:pt x="279" y="117"/>
                      <a:pt x="279" y="117"/>
                    </a:cubicBezTo>
                    <a:cubicBezTo>
                      <a:pt x="221" y="117"/>
                      <a:pt x="221" y="117"/>
                      <a:pt x="221" y="117"/>
                    </a:cubicBezTo>
                    <a:cubicBezTo>
                      <a:pt x="221" y="54"/>
                      <a:pt x="221" y="54"/>
                      <a:pt x="221" y="54"/>
                    </a:cubicBezTo>
                    <a:cubicBezTo>
                      <a:pt x="221" y="44"/>
                      <a:pt x="213" y="36"/>
                      <a:pt x="203" y="36"/>
                    </a:cubicBezTo>
                    <a:cubicBezTo>
                      <a:pt x="189" y="36"/>
                      <a:pt x="189" y="36"/>
                      <a:pt x="189" y="36"/>
                    </a:cubicBezTo>
                    <a:cubicBezTo>
                      <a:pt x="189" y="9"/>
                      <a:pt x="189" y="9"/>
                      <a:pt x="189" y="9"/>
                    </a:cubicBezTo>
                    <a:cubicBezTo>
                      <a:pt x="189" y="4"/>
                      <a:pt x="185" y="0"/>
                      <a:pt x="180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0" y="0"/>
                      <a:pt x="126" y="4"/>
                      <a:pt x="126" y="9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17" y="36"/>
                      <a:pt x="117" y="36"/>
                      <a:pt x="117" y="36"/>
                    </a:cubicBezTo>
                    <a:cubicBezTo>
                      <a:pt x="107" y="36"/>
                      <a:pt x="99" y="44"/>
                      <a:pt x="99" y="54"/>
                    </a:cubicBezTo>
                    <a:cubicBezTo>
                      <a:pt x="99" y="117"/>
                      <a:pt x="99" y="117"/>
                      <a:pt x="99" y="117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2" y="117"/>
                      <a:pt x="68" y="121"/>
                      <a:pt x="68" y="126"/>
                    </a:cubicBez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63" y="189"/>
                      <a:pt x="63" y="189"/>
                    </a:cubicBezTo>
                    <a:cubicBezTo>
                      <a:pt x="58" y="189"/>
                      <a:pt x="54" y="185"/>
                      <a:pt x="54" y="180"/>
                    </a:cubicBezTo>
                    <a:cubicBezTo>
                      <a:pt x="45" y="180"/>
                      <a:pt x="45" y="180"/>
                      <a:pt x="45" y="180"/>
                    </a:cubicBezTo>
                    <a:cubicBezTo>
                      <a:pt x="45" y="185"/>
                      <a:pt x="41" y="189"/>
                      <a:pt x="36" y="189"/>
                    </a:cubicBezTo>
                    <a:cubicBezTo>
                      <a:pt x="18" y="189"/>
                      <a:pt x="18" y="189"/>
                      <a:pt x="18" y="189"/>
                    </a:cubicBezTo>
                    <a:cubicBezTo>
                      <a:pt x="13" y="189"/>
                      <a:pt x="9" y="185"/>
                      <a:pt x="9" y="180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0" y="190"/>
                      <a:pt x="8" y="198"/>
                      <a:pt x="18" y="198"/>
                    </a:cubicBezTo>
                    <a:cubicBezTo>
                      <a:pt x="36" y="198"/>
                      <a:pt x="36" y="198"/>
                      <a:pt x="36" y="198"/>
                    </a:cubicBezTo>
                    <a:cubicBezTo>
                      <a:pt x="42" y="198"/>
                      <a:pt x="46" y="195"/>
                      <a:pt x="50" y="191"/>
                    </a:cubicBezTo>
                    <a:cubicBezTo>
                      <a:pt x="53" y="195"/>
                      <a:pt x="58" y="198"/>
                      <a:pt x="63" y="198"/>
                    </a:cubicBezTo>
                    <a:cubicBezTo>
                      <a:pt x="81" y="198"/>
                      <a:pt x="81" y="198"/>
                      <a:pt x="81" y="198"/>
                    </a:cubicBezTo>
                    <a:cubicBezTo>
                      <a:pt x="87" y="198"/>
                      <a:pt x="91" y="195"/>
                      <a:pt x="95" y="191"/>
                    </a:cubicBezTo>
                    <a:cubicBezTo>
                      <a:pt x="98" y="195"/>
                      <a:pt x="103" y="198"/>
                      <a:pt x="108" y="198"/>
                    </a:cubicBezTo>
                    <a:cubicBezTo>
                      <a:pt x="126" y="198"/>
                      <a:pt x="126" y="198"/>
                      <a:pt x="126" y="198"/>
                    </a:cubicBezTo>
                    <a:cubicBezTo>
                      <a:pt x="132" y="198"/>
                      <a:pt x="136" y="195"/>
                      <a:pt x="140" y="191"/>
                    </a:cubicBezTo>
                    <a:cubicBezTo>
                      <a:pt x="143" y="195"/>
                      <a:pt x="148" y="198"/>
                      <a:pt x="153" y="198"/>
                    </a:cubicBezTo>
                    <a:cubicBezTo>
                      <a:pt x="171" y="198"/>
                      <a:pt x="171" y="198"/>
                      <a:pt x="171" y="198"/>
                    </a:cubicBezTo>
                    <a:cubicBezTo>
                      <a:pt x="177" y="198"/>
                      <a:pt x="181" y="195"/>
                      <a:pt x="185" y="191"/>
                    </a:cubicBezTo>
                    <a:cubicBezTo>
                      <a:pt x="188" y="195"/>
                      <a:pt x="193" y="198"/>
                      <a:pt x="198" y="198"/>
                    </a:cubicBezTo>
                    <a:cubicBezTo>
                      <a:pt x="216" y="198"/>
                      <a:pt x="216" y="198"/>
                      <a:pt x="216" y="198"/>
                    </a:cubicBezTo>
                    <a:cubicBezTo>
                      <a:pt x="222" y="198"/>
                      <a:pt x="226" y="195"/>
                      <a:pt x="230" y="191"/>
                    </a:cubicBezTo>
                    <a:cubicBezTo>
                      <a:pt x="233" y="195"/>
                      <a:pt x="238" y="198"/>
                      <a:pt x="243" y="198"/>
                    </a:cubicBezTo>
                    <a:cubicBezTo>
                      <a:pt x="261" y="198"/>
                      <a:pt x="261" y="198"/>
                      <a:pt x="261" y="198"/>
                    </a:cubicBezTo>
                    <a:cubicBezTo>
                      <a:pt x="267" y="198"/>
                      <a:pt x="271" y="195"/>
                      <a:pt x="275" y="191"/>
                    </a:cubicBezTo>
                    <a:cubicBezTo>
                      <a:pt x="278" y="195"/>
                      <a:pt x="283" y="198"/>
                      <a:pt x="288" y="198"/>
                    </a:cubicBezTo>
                    <a:cubicBezTo>
                      <a:pt x="306" y="198"/>
                      <a:pt x="306" y="198"/>
                      <a:pt x="306" y="198"/>
                    </a:cubicBezTo>
                    <a:cubicBezTo>
                      <a:pt x="312" y="198"/>
                      <a:pt x="316" y="195"/>
                      <a:pt x="320" y="191"/>
                    </a:cubicBezTo>
                    <a:cubicBezTo>
                      <a:pt x="323" y="195"/>
                      <a:pt x="328" y="198"/>
                      <a:pt x="333" y="198"/>
                    </a:cubicBezTo>
                    <a:cubicBezTo>
                      <a:pt x="351" y="198"/>
                      <a:pt x="351" y="198"/>
                      <a:pt x="351" y="198"/>
                    </a:cubicBezTo>
                    <a:cubicBezTo>
                      <a:pt x="357" y="198"/>
                      <a:pt x="361" y="195"/>
                      <a:pt x="365" y="191"/>
                    </a:cubicBezTo>
                    <a:cubicBezTo>
                      <a:pt x="368" y="195"/>
                      <a:pt x="373" y="198"/>
                      <a:pt x="378" y="198"/>
                    </a:cubicBezTo>
                    <a:cubicBezTo>
                      <a:pt x="396" y="198"/>
                      <a:pt x="396" y="198"/>
                      <a:pt x="396" y="198"/>
                    </a:cubicBezTo>
                    <a:cubicBezTo>
                      <a:pt x="402" y="198"/>
                      <a:pt x="406" y="195"/>
                      <a:pt x="410" y="191"/>
                    </a:cubicBezTo>
                    <a:cubicBezTo>
                      <a:pt x="413" y="195"/>
                      <a:pt x="418" y="198"/>
                      <a:pt x="423" y="198"/>
                    </a:cubicBezTo>
                    <a:cubicBezTo>
                      <a:pt x="441" y="198"/>
                      <a:pt x="441" y="198"/>
                      <a:pt x="441" y="198"/>
                    </a:cubicBezTo>
                    <a:cubicBezTo>
                      <a:pt x="447" y="198"/>
                      <a:pt x="451" y="195"/>
                      <a:pt x="455" y="191"/>
                    </a:cubicBezTo>
                    <a:cubicBezTo>
                      <a:pt x="458" y="195"/>
                      <a:pt x="463" y="198"/>
                      <a:pt x="468" y="198"/>
                    </a:cubicBezTo>
                    <a:cubicBezTo>
                      <a:pt x="486" y="198"/>
                      <a:pt x="486" y="198"/>
                      <a:pt x="486" y="198"/>
                    </a:cubicBezTo>
                    <a:cubicBezTo>
                      <a:pt x="492" y="198"/>
                      <a:pt x="496" y="195"/>
                      <a:pt x="500" y="191"/>
                    </a:cubicBezTo>
                    <a:cubicBezTo>
                      <a:pt x="503" y="195"/>
                      <a:pt x="508" y="198"/>
                      <a:pt x="513" y="198"/>
                    </a:cubicBezTo>
                    <a:cubicBezTo>
                      <a:pt x="531" y="198"/>
                      <a:pt x="531" y="198"/>
                      <a:pt x="531" y="198"/>
                    </a:cubicBezTo>
                    <a:cubicBezTo>
                      <a:pt x="537" y="198"/>
                      <a:pt x="541" y="195"/>
                      <a:pt x="545" y="191"/>
                    </a:cubicBezTo>
                    <a:cubicBezTo>
                      <a:pt x="548" y="195"/>
                      <a:pt x="553" y="198"/>
                      <a:pt x="558" y="198"/>
                    </a:cubicBezTo>
                    <a:cubicBezTo>
                      <a:pt x="576" y="198"/>
                      <a:pt x="576" y="198"/>
                      <a:pt x="576" y="198"/>
                    </a:cubicBezTo>
                    <a:cubicBezTo>
                      <a:pt x="582" y="198"/>
                      <a:pt x="586" y="195"/>
                      <a:pt x="590" y="191"/>
                    </a:cubicBezTo>
                    <a:cubicBezTo>
                      <a:pt x="593" y="195"/>
                      <a:pt x="598" y="198"/>
                      <a:pt x="603" y="198"/>
                    </a:cubicBezTo>
                    <a:cubicBezTo>
                      <a:pt x="621" y="198"/>
                      <a:pt x="621" y="198"/>
                      <a:pt x="621" y="198"/>
                    </a:cubicBezTo>
                    <a:cubicBezTo>
                      <a:pt x="627" y="198"/>
                      <a:pt x="631" y="195"/>
                      <a:pt x="635" y="191"/>
                    </a:cubicBezTo>
                    <a:cubicBezTo>
                      <a:pt x="638" y="195"/>
                      <a:pt x="643" y="198"/>
                      <a:pt x="648" y="198"/>
                    </a:cubicBezTo>
                    <a:cubicBezTo>
                      <a:pt x="666" y="198"/>
                      <a:pt x="666" y="198"/>
                      <a:pt x="666" y="198"/>
                    </a:cubicBezTo>
                    <a:cubicBezTo>
                      <a:pt x="676" y="198"/>
                      <a:pt x="684" y="190"/>
                      <a:pt x="684" y="180"/>
                    </a:cubicBezTo>
                    <a:lnTo>
                      <a:pt x="675" y="180"/>
                    </a:lnTo>
                    <a:close/>
                    <a:moveTo>
                      <a:pt x="495" y="68"/>
                    </a:moveTo>
                    <a:cubicBezTo>
                      <a:pt x="495" y="104"/>
                      <a:pt x="495" y="104"/>
                      <a:pt x="495" y="104"/>
                    </a:cubicBezTo>
                    <a:cubicBezTo>
                      <a:pt x="493" y="106"/>
                      <a:pt x="490" y="108"/>
                      <a:pt x="488" y="111"/>
                    </a:cubicBezTo>
                    <a:cubicBezTo>
                      <a:pt x="483" y="117"/>
                      <a:pt x="483" y="117"/>
                      <a:pt x="483" y="117"/>
                    </a:cubicBezTo>
                    <a:cubicBezTo>
                      <a:pt x="396" y="117"/>
                      <a:pt x="396" y="117"/>
                      <a:pt x="396" y="117"/>
                    </a:cubicBezTo>
                    <a:cubicBezTo>
                      <a:pt x="396" y="67"/>
                      <a:pt x="396" y="67"/>
                      <a:pt x="396" y="67"/>
                    </a:cubicBezTo>
                    <a:lnTo>
                      <a:pt x="495" y="68"/>
                    </a:lnTo>
                    <a:close/>
                    <a:moveTo>
                      <a:pt x="342" y="9"/>
                    </a:moveTo>
                    <a:cubicBezTo>
                      <a:pt x="441" y="9"/>
                      <a:pt x="441" y="9"/>
                      <a:pt x="441" y="9"/>
                    </a:cubicBezTo>
                    <a:cubicBezTo>
                      <a:pt x="441" y="58"/>
                      <a:pt x="441" y="58"/>
                      <a:pt x="441" y="58"/>
                    </a:cubicBezTo>
                    <a:cubicBezTo>
                      <a:pt x="392" y="58"/>
                      <a:pt x="392" y="58"/>
                      <a:pt x="392" y="58"/>
                    </a:cubicBezTo>
                    <a:cubicBezTo>
                      <a:pt x="342" y="58"/>
                      <a:pt x="342" y="58"/>
                      <a:pt x="342" y="58"/>
                    </a:cubicBezTo>
                    <a:lnTo>
                      <a:pt x="342" y="9"/>
                    </a:lnTo>
                    <a:close/>
                    <a:moveTo>
                      <a:pt x="288" y="67"/>
                    </a:moveTo>
                    <a:cubicBezTo>
                      <a:pt x="338" y="67"/>
                      <a:pt x="338" y="67"/>
                      <a:pt x="338" y="67"/>
                    </a:cubicBezTo>
                    <a:cubicBezTo>
                      <a:pt x="387" y="67"/>
                      <a:pt x="387" y="67"/>
                      <a:pt x="387" y="67"/>
                    </a:cubicBezTo>
                    <a:cubicBezTo>
                      <a:pt x="387" y="117"/>
                      <a:pt x="387" y="117"/>
                      <a:pt x="387" y="117"/>
                    </a:cubicBezTo>
                    <a:cubicBezTo>
                      <a:pt x="288" y="117"/>
                      <a:pt x="288" y="117"/>
                      <a:pt x="288" y="117"/>
                    </a:cubicBezTo>
                    <a:lnTo>
                      <a:pt x="288" y="67"/>
                    </a:lnTo>
                    <a:close/>
                    <a:moveTo>
                      <a:pt x="135" y="9"/>
                    </a:moveTo>
                    <a:cubicBezTo>
                      <a:pt x="180" y="9"/>
                      <a:pt x="180" y="9"/>
                      <a:pt x="180" y="9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35" y="36"/>
                      <a:pt x="135" y="36"/>
                      <a:pt x="135" y="36"/>
                    </a:cubicBezTo>
                    <a:lnTo>
                      <a:pt x="135" y="9"/>
                    </a:lnTo>
                    <a:close/>
                    <a:moveTo>
                      <a:pt x="108" y="54"/>
                    </a:moveTo>
                    <a:cubicBezTo>
                      <a:pt x="108" y="49"/>
                      <a:pt x="112" y="45"/>
                      <a:pt x="117" y="45"/>
                    </a:cubicBezTo>
                    <a:cubicBezTo>
                      <a:pt x="203" y="45"/>
                      <a:pt x="203" y="45"/>
                      <a:pt x="203" y="45"/>
                    </a:cubicBezTo>
                    <a:cubicBezTo>
                      <a:pt x="208" y="45"/>
                      <a:pt x="212" y="49"/>
                      <a:pt x="212" y="54"/>
                    </a:cubicBezTo>
                    <a:cubicBezTo>
                      <a:pt x="212" y="117"/>
                      <a:pt x="212" y="117"/>
                      <a:pt x="212" y="117"/>
                    </a:cubicBezTo>
                    <a:cubicBezTo>
                      <a:pt x="108" y="117"/>
                      <a:pt x="108" y="117"/>
                      <a:pt x="108" y="117"/>
                    </a:cubicBezTo>
                    <a:lnTo>
                      <a:pt x="108" y="54"/>
                    </a:lnTo>
                    <a:close/>
                    <a:moveTo>
                      <a:pt x="483" y="126"/>
                    </a:moveTo>
                    <a:cubicBezTo>
                      <a:pt x="486" y="126"/>
                      <a:pt x="489" y="124"/>
                      <a:pt x="490" y="122"/>
                    </a:cubicBezTo>
                    <a:cubicBezTo>
                      <a:pt x="495" y="116"/>
                      <a:pt x="495" y="116"/>
                      <a:pt x="495" y="116"/>
                    </a:cubicBezTo>
                    <a:cubicBezTo>
                      <a:pt x="499" y="111"/>
                      <a:pt x="506" y="108"/>
                      <a:pt x="513" y="108"/>
                    </a:cubicBezTo>
                    <a:cubicBezTo>
                      <a:pt x="546" y="108"/>
                      <a:pt x="546" y="108"/>
                      <a:pt x="546" y="108"/>
                    </a:cubicBezTo>
                    <a:cubicBezTo>
                      <a:pt x="549" y="108"/>
                      <a:pt x="552" y="106"/>
                      <a:pt x="553" y="104"/>
                    </a:cubicBezTo>
                    <a:cubicBezTo>
                      <a:pt x="558" y="98"/>
                      <a:pt x="558" y="98"/>
                      <a:pt x="558" y="98"/>
                    </a:cubicBezTo>
                    <a:cubicBezTo>
                      <a:pt x="562" y="93"/>
                      <a:pt x="569" y="90"/>
                      <a:pt x="576" y="90"/>
                    </a:cubicBezTo>
                    <a:cubicBezTo>
                      <a:pt x="621" y="90"/>
                      <a:pt x="621" y="90"/>
                      <a:pt x="621" y="90"/>
                    </a:cubicBezTo>
                    <a:cubicBezTo>
                      <a:pt x="621" y="103"/>
                      <a:pt x="621" y="103"/>
                      <a:pt x="621" y="103"/>
                    </a:cubicBezTo>
                    <a:cubicBezTo>
                      <a:pt x="621" y="108"/>
                      <a:pt x="620" y="113"/>
                      <a:pt x="616" y="117"/>
                    </a:cubicBezTo>
                    <a:cubicBezTo>
                      <a:pt x="588" y="153"/>
                      <a:pt x="588" y="153"/>
                      <a:pt x="588" y="153"/>
                    </a:cubicBezTo>
                    <a:cubicBezTo>
                      <a:pt x="77" y="153"/>
                      <a:pt x="77" y="153"/>
                      <a:pt x="77" y="153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483" y="126"/>
                    </a:lnTo>
                    <a:close/>
                    <a:moveTo>
                      <a:pt x="549" y="180"/>
                    </a:moveTo>
                    <a:cubicBezTo>
                      <a:pt x="540" y="180"/>
                      <a:pt x="540" y="180"/>
                      <a:pt x="540" y="180"/>
                    </a:cubicBezTo>
                    <a:cubicBezTo>
                      <a:pt x="540" y="185"/>
                      <a:pt x="536" y="189"/>
                      <a:pt x="531" y="189"/>
                    </a:cubicBezTo>
                    <a:cubicBezTo>
                      <a:pt x="513" y="189"/>
                      <a:pt x="513" y="189"/>
                      <a:pt x="513" y="189"/>
                    </a:cubicBezTo>
                    <a:cubicBezTo>
                      <a:pt x="508" y="189"/>
                      <a:pt x="504" y="185"/>
                      <a:pt x="504" y="180"/>
                    </a:cubicBezTo>
                    <a:cubicBezTo>
                      <a:pt x="495" y="180"/>
                      <a:pt x="495" y="180"/>
                      <a:pt x="495" y="180"/>
                    </a:cubicBezTo>
                    <a:cubicBezTo>
                      <a:pt x="495" y="185"/>
                      <a:pt x="491" y="189"/>
                      <a:pt x="486" y="189"/>
                    </a:cubicBezTo>
                    <a:cubicBezTo>
                      <a:pt x="468" y="189"/>
                      <a:pt x="468" y="189"/>
                      <a:pt x="468" y="189"/>
                    </a:cubicBezTo>
                    <a:cubicBezTo>
                      <a:pt x="463" y="189"/>
                      <a:pt x="459" y="185"/>
                      <a:pt x="459" y="180"/>
                    </a:cubicBezTo>
                    <a:cubicBezTo>
                      <a:pt x="450" y="180"/>
                      <a:pt x="450" y="180"/>
                      <a:pt x="450" y="180"/>
                    </a:cubicBezTo>
                    <a:cubicBezTo>
                      <a:pt x="450" y="185"/>
                      <a:pt x="446" y="189"/>
                      <a:pt x="441" y="189"/>
                    </a:cubicBezTo>
                    <a:cubicBezTo>
                      <a:pt x="423" y="189"/>
                      <a:pt x="423" y="189"/>
                      <a:pt x="423" y="189"/>
                    </a:cubicBezTo>
                    <a:cubicBezTo>
                      <a:pt x="418" y="189"/>
                      <a:pt x="414" y="185"/>
                      <a:pt x="414" y="180"/>
                    </a:cubicBezTo>
                    <a:cubicBezTo>
                      <a:pt x="405" y="180"/>
                      <a:pt x="405" y="180"/>
                      <a:pt x="405" y="180"/>
                    </a:cubicBezTo>
                    <a:cubicBezTo>
                      <a:pt x="405" y="185"/>
                      <a:pt x="401" y="189"/>
                      <a:pt x="396" y="189"/>
                    </a:cubicBezTo>
                    <a:cubicBezTo>
                      <a:pt x="378" y="189"/>
                      <a:pt x="378" y="189"/>
                      <a:pt x="378" y="189"/>
                    </a:cubicBezTo>
                    <a:cubicBezTo>
                      <a:pt x="373" y="189"/>
                      <a:pt x="369" y="185"/>
                      <a:pt x="369" y="180"/>
                    </a:cubicBezTo>
                    <a:cubicBezTo>
                      <a:pt x="360" y="180"/>
                      <a:pt x="360" y="180"/>
                      <a:pt x="360" y="180"/>
                    </a:cubicBezTo>
                    <a:cubicBezTo>
                      <a:pt x="360" y="185"/>
                      <a:pt x="356" y="189"/>
                      <a:pt x="351" y="189"/>
                    </a:cubicBezTo>
                    <a:cubicBezTo>
                      <a:pt x="333" y="189"/>
                      <a:pt x="333" y="189"/>
                      <a:pt x="333" y="189"/>
                    </a:cubicBezTo>
                    <a:cubicBezTo>
                      <a:pt x="328" y="189"/>
                      <a:pt x="324" y="185"/>
                      <a:pt x="324" y="180"/>
                    </a:cubicBezTo>
                    <a:cubicBezTo>
                      <a:pt x="315" y="180"/>
                      <a:pt x="315" y="180"/>
                      <a:pt x="315" y="180"/>
                    </a:cubicBezTo>
                    <a:cubicBezTo>
                      <a:pt x="315" y="185"/>
                      <a:pt x="311" y="189"/>
                      <a:pt x="306" y="189"/>
                    </a:cubicBezTo>
                    <a:cubicBezTo>
                      <a:pt x="288" y="189"/>
                      <a:pt x="288" y="189"/>
                      <a:pt x="288" y="189"/>
                    </a:cubicBezTo>
                    <a:cubicBezTo>
                      <a:pt x="283" y="189"/>
                      <a:pt x="279" y="185"/>
                      <a:pt x="279" y="180"/>
                    </a:cubicBezTo>
                    <a:cubicBezTo>
                      <a:pt x="270" y="180"/>
                      <a:pt x="270" y="180"/>
                      <a:pt x="270" y="180"/>
                    </a:cubicBezTo>
                    <a:cubicBezTo>
                      <a:pt x="270" y="185"/>
                      <a:pt x="266" y="189"/>
                      <a:pt x="261" y="189"/>
                    </a:cubicBezTo>
                    <a:cubicBezTo>
                      <a:pt x="243" y="189"/>
                      <a:pt x="243" y="189"/>
                      <a:pt x="243" y="189"/>
                    </a:cubicBezTo>
                    <a:cubicBezTo>
                      <a:pt x="238" y="189"/>
                      <a:pt x="234" y="185"/>
                      <a:pt x="234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5" y="185"/>
                      <a:pt x="221" y="189"/>
                      <a:pt x="216" y="189"/>
                    </a:cubicBezTo>
                    <a:cubicBezTo>
                      <a:pt x="198" y="189"/>
                      <a:pt x="198" y="189"/>
                      <a:pt x="198" y="189"/>
                    </a:cubicBezTo>
                    <a:cubicBezTo>
                      <a:pt x="193" y="189"/>
                      <a:pt x="189" y="185"/>
                      <a:pt x="189" y="180"/>
                    </a:cubicBezTo>
                    <a:cubicBezTo>
                      <a:pt x="180" y="180"/>
                      <a:pt x="180" y="180"/>
                      <a:pt x="180" y="180"/>
                    </a:cubicBezTo>
                    <a:cubicBezTo>
                      <a:pt x="180" y="185"/>
                      <a:pt x="176" y="189"/>
                      <a:pt x="171" y="189"/>
                    </a:cubicBezTo>
                    <a:cubicBezTo>
                      <a:pt x="153" y="189"/>
                      <a:pt x="153" y="189"/>
                      <a:pt x="153" y="189"/>
                    </a:cubicBezTo>
                    <a:cubicBezTo>
                      <a:pt x="148" y="189"/>
                      <a:pt x="144" y="185"/>
                      <a:pt x="144" y="180"/>
                    </a:cubicBezTo>
                    <a:cubicBezTo>
                      <a:pt x="135" y="180"/>
                      <a:pt x="135" y="180"/>
                      <a:pt x="135" y="180"/>
                    </a:cubicBezTo>
                    <a:cubicBezTo>
                      <a:pt x="135" y="185"/>
                      <a:pt x="131" y="189"/>
                      <a:pt x="126" y="189"/>
                    </a:cubicBezTo>
                    <a:cubicBezTo>
                      <a:pt x="108" y="189"/>
                      <a:pt x="108" y="189"/>
                      <a:pt x="108" y="189"/>
                    </a:cubicBezTo>
                    <a:cubicBezTo>
                      <a:pt x="103" y="189"/>
                      <a:pt x="99" y="185"/>
                      <a:pt x="99" y="180"/>
                    </a:cubicBezTo>
                    <a:cubicBezTo>
                      <a:pt x="90" y="180"/>
                      <a:pt x="90" y="180"/>
                      <a:pt x="90" y="180"/>
                    </a:cubicBezTo>
                    <a:cubicBezTo>
                      <a:pt x="90" y="185"/>
                      <a:pt x="86" y="189"/>
                      <a:pt x="81" y="189"/>
                    </a:cubicBezTo>
                    <a:cubicBezTo>
                      <a:pt x="77" y="189"/>
                      <a:pt x="77" y="189"/>
                      <a:pt x="77" y="189"/>
                    </a:cubicBezTo>
                    <a:cubicBezTo>
                      <a:pt x="77" y="162"/>
                      <a:pt x="77" y="162"/>
                      <a:pt x="77" y="162"/>
                    </a:cubicBezTo>
                    <a:cubicBezTo>
                      <a:pt x="580" y="162"/>
                      <a:pt x="580" y="162"/>
                      <a:pt x="580" y="162"/>
                    </a:cubicBezTo>
                    <a:cubicBezTo>
                      <a:pt x="559" y="189"/>
                      <a:pt x="559" y="189"/>
                      <a:pt x="559" y="189"/>
                    </a:cubicBezTo>
                    <a:cubicBezTo>
                      <a:pt x="558" y="189"/>
                      <a:pt x="558" y="189"/>
                      <a:pt x="558" y="189"/>
                    </a:cubicBezTo>
                    <a:cubicBezTo>
                      <a:pt x="553" y="189"/>
                      <a:pt x="549" y="185"/>
                      <a:pt x="549" y="180"/>
                    </a:cubicBezTo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2" name="Rectangle 175">
                <a:extLst>
                  <a:ext uri="{FF2B5EF4-FFF2-40B4-BE49-F238E27FC236}">
                    <a16:creationId xmlns:a16="http://schemas.microsoft.com/office/drawing/2014/main" id="{B00A7E85-2810-41DE-A80E-116416B45E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55088" y="1750914"/>
                <a:ext cx="16568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3" name="Rectangle 176">
                <a:extLst>
                  <a:ext uri="{FF2B5EF4-FFF2-40B4-BE49-F238E27FC236}">
                    <a16:creationId xmlns:a16="http://schemas.microsoft.com/office/drawing/2014/main" id="{7CD32072-0CAD-42BD-AF8A-ACBC55D95D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99268" y="1750914"/>
                <a:ext cx="16568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4" name="Rectangle 177">
                <a:extLst>
                  <a:ext uri="{FF2B5EF4-FFF2-40B4-BE49-F238E27FC236}">
                    <a16:creationId xmlns:a16="http://schemas.microsoft.com/office/drawing/2014/main" id="{B9226C04-FA79-4037-B842-A7CD34764B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43448" y="1750914"/>
                <a:ext cx="13806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5" name="Rectangle 178">
                <a:extLst>
                  <a:ext uri="{FF2B5EF4-FFF2-40B4-BE49-F238E27FC236}">
                    <a16:creationId xmlns:a16="http://schemas.microsoft.com/office/drawing/2014/main" id="{C74702DC-E7B2-4A89-8ECA-1E9A8D9B0F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31808" y="1750914"/>
                <a:ext cx="13806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6" name="Rectangle 179">
                <a:extLst>
                  <a:ext uri="{FF2B5EF4-FFF2-40B4-BE49-F238E27FC236}">
                    <a16:creationId xmlns:a16="http://schemas.microsoft.com/office/drawing/2014/main" id="{C04FD798-0CE6-401C-BC67-ACCA72B8F7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5989" y="1750914"/>
                <a:ext cx="13806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7" name="Rectangle 180">
                <a:extLst>
                  <a:ext uri="{FF2B5EF4-FFF2-40B4-BE49-F238E27FC236}">
                    <a16:creationId xmlns:a16="http://schemas.microsoft.com/office/drawing/2014/main" id="{A93EE33F-3EF2-4F68-AF7A-2B5A2EB1AD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17407" y="1750914"/>
                <a:ext cx="16568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8" name="Rectangle 181">
                <a:extLst>
                  <a:ext uri="{FF2B5EF4-FFF2-40B4-BE49-F238E27FC236}">
                    <a16:creationId xmlns:a16="http://schemas.microsoft.com/office/drawing/2014/main" id="{9FDF2CF4-339E-4367-BE9E-B5BD009E89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43448" y="1657032"/>
                <a:ext cx="13806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69" name="Rectangle 182">
                <a:extLst>
                  <a:ext uri="{FF2B5EF4-FFF2-40B4-BE49-F238E27FC236}">
                    <a16:creationId xmlns:a16="http://schemas.microsoft.com/office/drawing/2014/main" id="{E78F3853-F4CF-4525-B1E6-02B9ABF406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87628" y="1657032"/>
                <a:ext cx="13806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70" name="Rectangle 183">
                <a:extLst>
                  <a:ext uri="{FF2B5EF4-FFF2-40B4-BE49-F238E27FC236}">
                    <a16:creationId xmlns:a16="http://schemas.microsoft.com/office/drawing/2014/main" id="{35B785D7-9770-4556-9F76-6293AD25DB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31808" y="1657032"/>
                <a:ext cx="13806" cy="3589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5EFB690-94D9-4B26-8794-7ABCD7077769}"/>
                </a:ext>
              </a:extLst>
            </p:cNvPr>
            <p:cNvGrpSpPr/>
            <p:nvPr/>
          </p:nvGrpSpPr>
          <p:grpSpPr>
            <a:xfrm>
              <a:off x="7489061" y="1833456"/>
              <a:ext cx="670987" cy="320307"/>
              <a:chOff x="5085411" y="734770"/>
              <a:chExt cx="670987" cy="320307"/>
            </a:xfrm>
          </p:grpSpPr>
          <p:sp>
            <p:nvSpPr>
              <p:cNvPr id="53" name="Freeform 46">
                <a:extLst>
                  <a:ext uri="{FF2B5EF4-FFF2-40B4-BE49-F238E27FC236}">
                    <a16:creationId xmlns:a16="http://schemas.microsoft.com/office/drawing/2014/main" id="{5442D1E1-B924-4914-A4B2-A924E35362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5411" y="1038509"/>
                <a:ext cx="670987" cy="16568"/>
              </a:xfrm>
              <a:custGeom>
                <a:avLst/>
                <a:gdLst>
                  <a:gd name="T0" fmla="*/ 193 w 243"/>
                  <a:gd name="T1" fmla="*/ 0 h 6"/>
                  <a:gd name="T2" fmla="*/ 113 w 243"/>
                  <a:gd name="T3" fmla="*/ 0 h 6"/>
                  <a:gd name="T4" fmla="*/ 50 w 243"/>
                  <a:gd name="T5" fmla="*/ 0 h 6"/>
                  <a:gd name="T6" fmla="*/ 0 w 243"/>
                  <a:gd name="T7" fmla="*/ 0 h 6"/>
                  <a:gd name="T8" fmla="*/ 0 w 243"/>
                  <a:gd name="T9" fmla="*/ 6 h 6"/>
                  <a:gd name="T10" fmla="*/ 243 w 243"/>
                  <a:gd name="T11" fmla="*/ 6 h 6"/>
                  <a:gd name="T12" fmla="*/ 243 w 243"/>
                  <a:gd name="T13" fmla="*/ 0 h 6"/>
                  <a:gd name="T14" fmla="*/ 193 w 243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6">
                    <a:moveTo>
                      <a:pt x="193" y="0"/>
                    </a:moveTo>
                    <a:lnTo>
                      <a:pt x="113" y="0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43" y="6"/>
                    </a:lnTo>
                    <a:lnTo>
                      <a:pt x="243" y="0"/>
                    </a:lnTo>
                    <a:lnTo>
                      <a:pt x="193" y="0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54" name="Freeform 47">
                <a:extLst>
                  <a:ext uri="{FF2B5EF4-FFF2-40B4-BE49-F238E27FC236}">
                    <a16:creationId xmlns:a16="http://schemas.microsoft.com/office/drawing/2014/main" id="{FC998022-F7CE-41F0-A912-0B3FCBF204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9591" y="734770"/>
                <a:ext cx="582626" cy="303739"/>
              </a:xfrm>
              <a:custGeom>
                <a:avLst/>
                <a:gdLst>
                  <a:gd name="T0" fmla="*/ 135 w 360"/>
                  <a:gd name="T1" fmla="*/ 162 h 189"/>
                  <a:gd name="T2" fmla="*/ 197 w 360"/>
                  <a:gd name="T3" fmla="*/ 162 h 189"/>
                  <a:gd name="T4" fmla="*/ 301 w 360"/>
                  <a:gd name="T5" fmla="*/ 189 h 189"/>
                  <a:gd name="T6" fmla="*/ 351 w 360"/>
                  <a:gd name="T7" fmla="*/ 162 h 189"/>
                  <a:gd name="T8" fmla="*/ 360 w 360"/>
                  <a:gd name="T9" fmla="*/ 103 h 189"/>
                  <a:gd name="T10" fmla="*/ 358 w 360"/>
                  <a:gd name="T11" fmla="*/ 79 h 189"/>
                  <a:gd name="T12" fmla="*/ 326 w 360"/>
                  <a:gd name="T13" fmla="*/ 45 h 189"/>
                  <a:gd name="T14" fmla="*/ 243 w 360"/>
                  <a:gd name="T15" fmla="*/ 54 h 189"/>
                  <a:gd name="T16" fmla="*/ 243 w 360"/>
                  <a:gd name="T17" fmla="*/ 153 h 189"/>
                  <a:gd name="T18" fmla="*/ 225 w 360"/>
                  <a:gd name="T19" fmla="*/ 9 h 189"/>
                  <a:gd name="T20" fmla="*/ 9 w 360"/>
                  <a:gd name="T21" fmla="*/ 0 h 189"/>
                  <a:gd name="T22" fmla="*/ 0 w 360"/>
                  <a:gd name="T23" fmla="*/ 153 h 189"/>
                  <a:gd name="T24" fmla="*/ 27 w 360"/>
                  <a:gd name="T25" fmla="*/ 162 h 189"/>
                  <a:gd name="T26" fmla="*/ 89 w 360"/>
                  <a:gd name="T27" fmla="*/ 162 h 189"/>
                  <a:gd name="T28" fmla="*/ 144 w 360"/>
                  <a:gd name="T29" fmla="*/ 157 h 189"/>
                  <a:gd name="T30" fmla="*/ 189 w 360"/>
                  <a:gd name="T31" fmla="*/ 157 h 189"/>
                  <a:gd name="T32" fmla="*/ 301 w 360"/>
                  <a:gd name="T33" fmla="*/ 180 h 189"/>
                  <a:gd name="T34" fmla="*/ 301 w 360"/>
                  <a:gd name="T35" fmla="*/ 135 h 189"/>
                  <a:gd name="T36" fmla="*/ 301 w 360"/>
                  <a:gd name="T37" fmla="*/ 180 h 189"/>
                  <a:gd name="T38" fmla="*/ 326 w 360"/>
                  <a:gd name="T39" fmla="*/ 54 h 189"/>
                  <a:gd name="T40" fmla="*/ 351 w 360"/>
                  <a:gd name="T41" fmla="*/ 99 h 189"/>
                  <a:gd name="T42" fmla="*/ 252 w 360"/>
                  <a:gd name="T43" fmla="*/ 54 h 189"/>
                  <a:gd name="T44" fmla="*/ 351 w 360"/>
                  <a:gd name="T45" fmla="*/ 108 h 189"/>
                  <a:gd name="T46" fmla="*/ 332 w 360"/>
                  <a:gd name="T47" fmla="*/ 153 h 189"/>
                  <a:gd name="T48" fmla="*/ 270 w 360"/>
                  <a:gd name="T49" fmla="*/ 153 h 189"/>
                  <a:gd name="T50" fmla="*/ 252 w 360"/>
                  <a:gd name="T51" fmla="*/ 108 h 189"/>
                  <a:gd name="T52" fmla="*/ 216 w 360"/>
                  <a:gd name="T53" fmla="*/ 9 h 189"/>
                  <a:gd name="T54" fmla="*/ 197 w 360"/>
                  <a:gd name="T55" fmla="*/ 153 h 189"/>
                  <a:gd name="T56" fmla="*/ 135 w 360"/>
                  <a:gd name="T57" fmla="*/ 153 h 189"/>
                  <a:gd name="T58" fmla="*/ 58 w 360"/>
                  <a:gd name="T59" fmla="*/ 126 h 189"/>
                  <a:gd name="T60" fmla="*/ 9 w 360"/>
                  <a:gd name="T61" fmla="*/ 153 h 189"/>
                  <a:gd name="T62" fmla="*/ 58 w 360"/>
                  <a:gd name="T63" fmla="*/ 180 h 189"/>
                  <a:gd name="T64" fmla="*/ 58 w 360"/>
                  <a:gd name="T65" fmla="*/ 135 h 189"/>
                  <a:gd name="T66" fmla="*/ 58 w 360"/>
                  <a:gd name="T67" fmla="*/ 18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60" h="189">
                    <a:moveTo>
                      <a:pt x="89" y="162"/>
                    </a:moveTo>
                    <a:cubicBezTo>
                      <a:pt x="135" y="162"/>
                      <a:pt x="135" y="162"/>
                      <a:pt x="135" y="162"/>
                    </a:cubicBezTo>
                    <a:cubicBezTo>
                      <a:pt x="138" y="177"/>
                      <a:pt x="151" y="189"/>
                      <a:pt x="166" y="189"/>
                    </a:cubicBezTo>
                    <a:cubicBezTo>
                      <a:pt x="182" y="189"/>
                      <a:pt x="195" y="177"/>
                      <a:pt x="197" y="162"/>
                    </a:cubicBezTo>
                    <a:cubicBezTo>
                      <a:pt x="270" y="162"/>
                      <a:pt x="270" y="162"/>
                      <a:pt x="270" y="162"/>
                    </a:cubicBezTo>
                    <a:cubicBezTo>
                      <a:pt x="273" y="177"/>
                      <a:pt x="286" y="189"/>
                      <a:pt x="301" y="189"/>
                    </a:cubicBezTo>
                    <a:cubicBezTo>
                      <a:pt x="317" y="189"/>
                      <a:pt x="330" y="177"/>
                      <a:pt x="332" y="162"/>
                    </a:cubicBezTo>
                    <a:cubicBezTo>
                      <a:pt x="351" y="162"/>
                      <a:pt x="351" y="162"/>
                      <a:pt x="351" y="162"/>
                    </a:cubicBezTo>
                    <a:cubicBezTo>
                      <a:pt x="356" y="162"/>
                      <a:pt x="360" y="158"/>
                      <a:pt x="360" y="153"/>
                    </a:cubicBezTo>
                    <a:cubicBezTo>
                      <a:pt x="360" y="103"/>
                      <a:pt x="360" y="103"/>
                      <a:pt x="360" y="103"/>
                    </a:cubicBezTo>
                    <a:cubicBezTo>
                      <a:pt x="360" y="84"/>
                      <a:pt x="360" y="84"/>
                      <a:pt x="360" y="84"/>
                    </a:cubicBezTo>
                    <a:cubicBezTo>
                      <a:pt x="360" y="82"/>
                      <a:pt x="359" y="80"/>
                      <a:pt x="358" y="79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2" y="46"/>
                      <a:pt x="329" y="45"/>
                      <a:pt x="326" y="45"/>
                    </a:cubicBezTo>
                    <a:cubicBezTo>
                      <a:pt x="252" y="45"/>
                      <a:pt x="252" y="45"/>
                      <a:pt x="252" y="45"/>
                    </a:cubicBezTo>
                    <a:cubicBezTo>
                      <a:pt x="247" y="45"/>
                      <a:pt x="243" y="49"/>
                      <a:pt x="243" y="54"/>
                    </a:cubicBezTo>
                    <a:cubicBezTo>
                      <a:pt x="243" y="103"/>
                      <a:pt x="243" y="103"/>
                      <a:pt x="243" y="103"/>
                    </a:cubicBezTo>
                    <a:cubicBezTo>
                      <a:pt x="243" y="153"/>
                      <a:pt x="243" y="153"/>
                      <a:pt x="243" y="153"/>
                    </a:cubicBezTo>
                    <a:cubicBezTo>
                      <a:pt x="225" y="153"/>
                      <a:pt x="225" y="153"/>
                      <a:pt x="225" y="153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5" y="4"/>
                      <a:pt x="221" y="0"/>
                      <a:pt x="216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4" y="162"/>
                      <a:pt x="9" y="162"/>
                    </a:cubicBezTo>
                    <a:cubicBezTo>
                      <a:pt x="27" y="162"/>
                      <a:pt x="27" y="162"/>
                      <a:pt x="27" y="162"/>
                    </a:cubicBezTo>
                    <a:cubicBezTo>
                      <a:pt x="30" y="177"/>
                      <a:pt x="43" y="189"/>
                      <a:pt x="58" y="189"/>
                    </a:cubicBezTo>
                    <a:cubicBezTo>
                      <a:pt x="74" y="189"/>
                      <a:pt x="87" y="177"/>
                      <a:pt x="89" y="162"/>
                    </a:cubicBezTo>
                    <a:moveTo>
                      <a:pt x="166" y="180"/>
                    </a:moveTo>
                    <a:cubicBezTo>
                      <a:pt x="154" y="180"/>
                      <a:pt x="144" y="169"/>
                      <a:pt x="144" y="157"/>
                    </a:cubicBezTo>
                    <a:cubicBezTo>
                      <a:pt x="144" y="145"/>
                      <a:pt x="154" y="135"/>
                      <a:pt x="166" y="135"/>
                    </a:cubicBezTo>
                    <a:cubicBezTo>
                      <a:pt x="179" y="135"/>
                      <a:pt x="189" y="145"/>
                      <a:pt x="189" y="157"/>
                    </a:cubicBezTo>
                    <a:cubicBezTo>
                      <a:pt x="189" y="169"/>
                      <a:pt x="179" y="180"/>
                      <a:pt x="166" y="180"/>
                    </a:cubicBezTo>
                    <a:moveTo>
                      <a:pt x="301" y="180"/>
                    </a:moveTo>
                    <a:cubicBezTo>
                      <a:pt x="289" y="180"/>
                      <a:pt x="279" y="169"/>
                      <a:pt x="279" y="157"/>
                    </a:cubicBezTo>
                    <a:cubicBezTo>
                      <a:pt x="279" y="145"/>
                      <a:pt x="289" y="135"/>
                      <a:pt x="301" y="135"/>
                    </a:cubicBezTo>
                    <a:cubicBezTo>
                      <a:pt x="314" y="135"/>
                      <a:pt x="324" y="145"/>
                      <a:pt x="324" y="157"/>
                    </a:cubicBezTo>
                    <a:cubicBezTo>
                      <a:pt x="324" y="169"/>
                      <a:pt x="314" y="180"/>
                      <a:pt x="301" y="180"/>
                    </a:cubicBezTo>
                    <a:moveTo>
                      <a:pt x="252" y="54"/>
                    </a:moveTo>
                    <a:cubicBezTo>
                      <a:pt x="326" y="54"/>
                      <a:pt x="326" y="54"/>
                      <a:pt x="326" y="54"/>
                    </a:cubicBezTo>
                    <a:cubicBezTo>
                      <a:pt x="351" y="84"/>
                      <a:pt x="351" y="84"/>
                      <a:pt x="351" y="84"/>
                    </a:cubicBezTo>
                    <a:cubicBezTo>
                      <a:pt x="351" y="99"/>
                      <a:pt x="351" y="99"/>
                      <a:pt x="351" y="99"/>
                    </a:cubicBezTo>
                    <a:cubicBezTo>
                      <a:pt x="252" y="99"/>
                      <a:pt x="252" y="99"/>
                      <a:pt x="252" y="99"/>
                    </a:cubicBezTo>
                    <a:lnTo>
                      <a:pt x="252" y="54"/>
                    </a:lnTo>
                    <a:close/>
                    <a:moveTo>
                      <a:pt x="252" y="108"/>
                    </a:moveTo>
                    <a:cubicBezTo>
                      <a:pt x="351" y="108"/>
                      <a:pt x="351" y="108"/>
                      <a:pt x="351" y="108"/>
                    </a:cubicBezTo>
                    <a:cubicBezTo>
                      <a:pt x="351" y="153"/>
                      <a:pt x="351" y="153"/>
                      <a:pt x="351" y="153"/>
                    </a:cubicBezTo>
                    <a:cubicBezTo>
                      <a:pt x="332" y="153"/>
                      <a:pt x="332" y="153"/>
                      <a:pt x="332" y="153"/>
                    </a:cubicBezTo>
                    <a:cubicBezTo>
                      <a:pt x="330" y="137"/>
                      <a:pt x="317" y="126"/>
                      <a:pt x="301" y="126"/>
                    </a:cubicBezTo>
                    <a:cubicBezTo>
                      <a:pt x="286" y="126"/>
                      <a:pt x="273" y="137"/>
                      <a:pt x="270" y="153"/>
                    </a:cubicBezTo>
                    <a:cubicBezTo>
                      <a:pt x="252" y="153"/>
                      <a:pt x="252" y="153"/>
                      <a:pt x="252" y="153"/>
                    </a:cubicBezTo>
                    <a:lnTo>
                      <a:pt x="252" y="108"/>
                    </a:lnTo>
                    <a:close/>
                    <a:moveTo>
                      <a:pt x="9" y="9"/>
                    </a:moveTo>
                    <a:cubicBezTo>
                      <a:pt x="216" y="9"/>
                      <a:pt x="216" y="9"/>
                      <a:pt x="216" y="9"/>
                    </a:cubicBezTo>
                    <a:cubicBezTo>
                      <a:pt x="216" y="153"/>
                      <a:pt x="216" y="153"/>
                      <a:pt x="216" y="153"/>
                    </a:cubicBezTo>
                    <a:cubicBezTo>
                      <a:pt x="197" y="153"/>
                      <a:pt x="197" y="153"/>
                      <a:pt x="197" y="153"/>
                    </a:cubicBezTo>
                    <a:cubicBezTo>
                      <a:pt x="195" y="137"/>
                      <a:pt x="182" y="126"/>
                      <a:pt x="166" y="126"/>
                    </a:cubicBezTo>
                    <a:cubicBezTo>
                      <a:pt x="151" y="126"/>
                      <a:pt x="138" y="137"/>
                      <a:pt x="135" y="153"/>
                    </a:cubicBezTo>
                    <a:cubicBezTo>
                      <a:pt x="89" y="153"/>
                      <a:pt x="89" y="153"/>
                      <a:pt x="89" y="153"/>
                    </a:cubicBezTo>
                    <a:cubicBezTo>
                      <a:pt x="87" y="137"/>
                      <a:pt x="74" y="126"/>
                      <a:pt x="58" y="126"/>
                    </a:cubicBezTo>
                    <a:cubicBezTo>
                      <a:pt x="43" y="126"/>
                      <a:pt x="30" y="137"/>
                      <a:pt x="27" y="153"/>
                    </a:cubicBezTo>
                    <a:cubicBezTo>
                      <a:pt x="9" y="153"/>
                      <a:pt x="9" y="153"/>
                      <a:pt x="9" y="153"/>
                    </a:cubicBezTo>
                    <a:lnTo>
                      <a:pt x="9" y="9"/>
                    </a:lnTo>
                    <a:close/>
                    <a:moveTo>
                      <a:pt x="58" y="180"/>
                    </a:moveTo>
                    <a:cubicBezTo>
                      <a:pt x="46" y="180"/>
                      <a:pt x="36" y="169"/>
                      <a:pt x="36" y="157"/>
                    </a:cubicBezTo>
                    <a:cubicBezTo>
                      <a:pt x="36" y="145"/>
                      <a:pt x="46" y="135"/>
                      <a:pt x="58" y="135"/>
                    </a:cubicBezTo>
                    <a:cubicBezTo>
                      <a:pt x="71" y="135"/>
                      <a:pt x="81" y="145"/>
                      <a:pt x="81" y="157"/>
                    </a:cubicBezTo>
                    <a:cubicBezTo>
                      <a:pt x="81" y="169"/>
                      <a:pt x="71" y="180"/>
                      <a:pt x="58" y="180"/>
                    </a:cubicBezTo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55" name="Rectangle 48">
                <a:extLst>
                  <a:ext uri="{FF2B5EF4-FFF2-40B4-BE49-F238E27FC236}">
                    <a16:creationId xmlns:a16="http://schemas.microsoft.com/office/drawing/2014/main" id="{CA9CDB97-CFDC-4527-A29F-C8AD8AA36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17952" y="806563"/>
                <a:ext cx="13806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56" name="Rectangle 49">
                <a:extLst>
                  <a:ext uri="{FF2B5EF4-FFF2-40B4-BE49-F238E27FC236}">
                    <a16:creationId xmlns:a16="http://schemas.microsoft.com/office/drawing/2014/main" id="{902BC5BC-9DDC-4EA6-98DC-75E38E9E6A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1911" y="806563"/>
                <a:ext cx="13806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57" name="Rectangle 50">
                <a:extLst>
                  <a:ext uri="{FF2B5EF4-FFF2-40B4-BE49-F238E27FC236}">
                    <a16:creationId xmlns:a16="http://schemas.microsoft.com/office/drawing/2014/main" id="{C2D87186-6306-4195-8B43-615FDF7244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3551" y="806563"/>
                <a:ext cx="16568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DEB0465-FBAC-4C51-856A-18F99231695F}"/>
                </a:ext>
              </a:extLst>
            </p:cNvPr>
            <p:cNvGrpSpPr/>
            <p:nvPr/>
          </p:nvGrpSpPr>
          <p:grpSpPr>
            <a:xfrm>
              <a:off x="8531770" y="1789515"/>
              <a:ext cx="524406" cy="340971"/>
              <a:chOff x="3967100" y="2380482"/>
              <a:chExt cx="670987" cy="436279"/>
            </a:xfrm>
          </p:grpSpPr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2E0DB300-55E7-4B2D-A3CB-D384C0DCBA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7100" y="2380482"/>
                <a:ext cx="670987" cy="436279"/>
              </a:xfrm>
              <a:custGeom>
                <a:avLst/>
                <a:gdLst>
                  <a:gd name="T0" fmla="*/ 347 w 414"/>
                  <a:gd name="T1" fmla="*/ 261 h 270"/>
                  <a:gd name="T2" fmla="*/ 347 w 414"/>
                  <a:gd name="T3" fmla="*/ 66 h 270"/>
                  <a:gd name="T4" fmla="*/ 337 w 414"/>
                  <a:gd name="T5" fmla="*/ 50 h 270"/>
                  <a:gd name="T6" fmla="*/ 242 w 414"/>
                  <a:gd name="T7" fmla="*/ 3 h 270"/>
                  <a:gd name="T8" fmla="*/ 228 w 414"/>
                  <a:gd name="T9" fmla="*/ 0 h 270"/>
                  <a:gd name="T10" fmla="*/ 186 w 414"/>
                  <a:gd name="T11" fmla="*/ 0 h 270"/>
                  <a:gd name="T12" fmla="*/ 172 w 414"/>
                  <a:gd name="T13" fmla="*/ 3 h 270"/>
                  <a:gd name="T14" fmla="*/ 77 w 414"/>
                  <a:gd name="T15" fmla="*/ 50 h 270"/>
                  <a:gd name="T16" fmla="*/ 68 w 414"/>
                  <a:gd name="T17" fmla="*/ 66 h 270"/>
                  <a:gd name="T18" fmla="*/ 68 w 414"/>
                  <a:gd name="T19" fmla="*/ 261 h 270"/>
                  <a:gd name="T20" fmla="*/ 0 w 414"/>
                  <a:gd name="T21" fmla="*/ 261 h 270"/>
                  <a:gd name="T22" fmla="*/ 0 w 414"/>
                  <a:gd name="T23" fmla="*/ 270 h 270"/>
                  <a:gd name="T24" fmla="*/ 414 w 414"/>
                  <a:gd name="T25" fmla="*/ 270 h 270"/>
                  <a:gd name="T26" fmla="*/ 414 w 414"/>
                  <a:gd name="T27" fmla="*/ 261 h 270"/>
                  <a:gd name="T28" fmla="*/ 347 w 414"/>
                  <a:gd name="T29" fmla="*/ 261 h 270"/>
                  <a:gd name="T30" fmla="*/ 284 w 414"/>
                  <a:gd name="T31" fmla="*/ 180 h 270"/>
                  <a:gd name="T32" fmla="*/ 131 w 414"/>
                  <a:gd name="T33" fmla="*/ 180 h 270"/>
                  <a:gd name="T34" fmla="*/ 131 w 414"/>
                  <a:gd name="T35" fmla="*/ 162 h 270"/>
                  <a:gd name="T36" fmla="*/ 284 w 414"/>
                  <a:gd name="T37" fmla="*/ 162 h 270"/>
                  <a:gd name="T38" fmla="*/ 284 w 414"/>
                  <a:gd name="T39" fmla="*/ 180 h 270"/>
                  <a:gd name="T40" fmla="*/ 284 w 414"/>
                  <a:gd name="T41" fmla="*/ 234 h 270"/>
                  <a:gd name="T42" fmla="*/ 131 w 414"/>
                  <a:gd name="T43" fmla="*/ 234 h 270"/>
                  <a:gd name="T44" fmla="*/ 131 w 414"/>
                  <a:gd name="T45" fmla="*/ 216 h 270"/>
                  <a:gd name="T46" fmla="*/ 284 w 414"/>
                  <a:gd name="T47" fmla="*/ 216 h 270"/>
                  <a:gd name="T48" fmla="*/ 284 w 414"/>
                  <a:gd name="T49" fmla="*/ 234 h 270"/>
                  <a:gd name="T50" fmla="*/ 284 w 414"/>
                  <a:gd name="T51" fmla="*/ 207 h 270"/>
                  <a:gd name="T52" fmla="*/ 131 w 414"/>
                  <a:gd name="T53" fmla="*/ 207 h 270"/>
                  <a:gd name="T54" fmla="*/ 131 w 414"/>
                  <a:gd name="T55" fmla="*/ 189 h 270"/>
                  <a:gd name="T56" fmla="*/ 284 w 414"/>
                  <a:gd name="T57" fmla="*/ 189 h 270"/>
                  <a:gd name="T58" fmla="*/ 284 w 414"/>
                  <a:gd name="T59" fmla="*/ 207 h 270"/>
                  <a:gd name="T60" fmla="*/ 131 w 414"/>
                  <a:gd name="T61" fmla="*/ 243 h 270"/>
                  <a:gd name="T62" fmla="*/ 284 w 414"/>
                  <a:gd name="T63" fmla="*/ 243 h 270"/>
                  <a:gd name="T64" fmla="*/ 284 w 414"/>
                  <a:gd name="T65" fmla="*/ 261 h 270"/>
                  <a:gd name="T66" fmla="*/ 131 w 414"/>
                  <a:gd name="T67" fmla="*/ 261 h 270"/>
                  <a:gd name="T68" fmla="*/ 131 w 414"/>
                  <a:gd name="T69" fmla="*/ 243 h 270"/>
                  <a:gd name="T70" fmla="*/ 293 w 414"/>
                  <a:gd name="T71" fmla="*/ 162 h 270"/>
                  <a:gd name="T72" fmla="*/ 338 w 414"/>
                  <a:gd name="T73" fmla="*/ 162 h 270"/>
                  <a:gd name="T74" fmla="*/ 338 w 414"/>
                  <a:gd name="T75" fmla="*/ 261 h 270"/>
                  <a:gd name="T76" fmla="*/ 293 w 414"/>
                  <a:gd name="T77" fmla="*/ 261 h 270"/>
                  <a:gd name="T78" fmla="*/ 293 w 414"/>
                  <a:gd name="T79" fmla="*/ 162 h 270"/>
                  <a:gd name="T80" fmla="*/ 82 w 414"/>
                  <a:gd name="T81" fmla="*/ 58 h 270"/>
                  <a:gd name="T82" fmla="*/ 176 w 414"/>
                  <a:gd name="T83" fmla="*/ 11 h 270"/>
                  <a:gd name="T84" fmla="*/ 186 w 414"/>
                  <a:gd name="T85" fmla="*/ 9 h 270"/>
                  <a:gd name="T86" fmla="*/ 228 w 414"/>
                  <a:gd name="T87" fmla="*/ 9 h 270"/>
                  <a:gd name="T88" fmla="*/ 238 w 414"/>
                  <a:gd name="T89" fmla="*/ 11 h 270"/>
                  <a:gd name="T90" fmla="*/ 333 w 414"/>
                  <a:gd name="T91" fmla="*/ 58 h 270"/>
                  <a:gd name="T92" fmla="*/ 338 w 414"/>
                  <a:gd name="T93" fmla="*/ 66 h 270"/>
                  <a:gd name="T94" fmla="*/ 338 w 414"/>
                  <a:gd name="T95" fmla="*/ 153 h 270"/>
                  <a:gd name="T96" fmla="*/ 77 w 414"/>
                  <a:gd name="T97" fmla="*/ 153 h 270"/>
                  <a:gd name="T98" fmla="*/ 77 w 414"/>
                  <a:gd name="T99" fmla="*/ 66 h 270"/>
                  <a:gd name="T100" fmla="*/ 82 w 414"/>
                  <a:gd name="T101" fmla="*/ 58 h 270"/>
                  <a:gd name="T102" fmla="*/ 77 w 414"/>
                  <a:gd name="T103" fmla="*/ 162 h 270"/>
                  <a:gd name="T104" fmla="*/ 122 w 414"/>
                  <a:gd name="T105" fmla="*/ 162 h 270"/>
                  <a:gd name="T106" fmla="*/ 122 w 414"/>
                  <a:gd name="T107" fmla="*/ 261 h 270"/>
                  <a:gd name="T108" fmla="*/ 77 w 414"/>
                  <a:gd name="T109" fmla="*/ 261 h 270"/>
                  <a:gd name="T110" fmla="*/ 77 w 414"/>
                  <a:gd name="T111" fmla="*/ 162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14" h="270">
                    <a:moveTo>
                      <a:pt x="347" y="261"/>
                    </a:moveTo>
                    <a:cubicBezTo>
                      <a:pt x="347" y="66"/>
                      <a:pt x="347" y="66"/>
                      <a:pt x="347" y="66"/>
                    </a:cubicBezTo>
                    <a:cubicBezTo>
                      <a:pt x="347" y="60"/>
                      <a:pt x="343" y="53"/>
                      <a:pt x="337" y="50"/>
                    </a:cubicBezTo>
                    <a:cubicBezTo>
                      <a:pt x="242" y="3"/>
                      <a:pt x="242" y="3"/>
                      <a:pt x="242" y="3"/>
                    </a:cubicBezTo>
                    <a:cubicBezTo>
                      <a:pt x="237" y="1"/>
                      <a:pt x="233" y="0"/>
                      <a:pt x="228" y="0"/>
                    </a:cubicBezTo>
                    <a:cubicBezTo>
                      <a:pt x="186" y="0"/>
                      <a:pt x="186" y="0"/>
                      <a:pt x="186" y="0"/>
                    </a:cubicBezTo>
                    <a:cubicBezTo>
                      <a:pt x="182" y="0"/>
                      <a:pt x="177" y="1"/>
                      <a:pt x="172" y="3"/>
                    </a:cubicBezTo>
                    <a:cubicBezTo>
                      <a:pt x="77" y="50"/>
                      <a:pt x="77" y="50"/>
                      <a:pt x="77" y="50"/>
                    </a:cubicBezTo>
                    <a:cubicBezTo>
                      <a:pt x="71" y="53"/>
                      <a:pt x="68" y="60"/>
                      <a:pt x="68" y="66"/>
                    </a:cubicBezTo>
                    <a:cubicBezTo>
                      <a:pt x="68" y="261"/>
                      <a:pt x="68" y="261"/>
                      <a:pt x="68" y="261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4" y="261"/>
                      <a:pt x="414" y="261"/>
                      <a:pt x="414" y="261"/>
                    </a:cubicBezTo>
                    <a:lnTo>
                      <a:pt x="347" y="261"/>
                    </a:lnTo>
                    <a:close/>
                    <a:moveTo>
                      <a:pt x="284" y="180"/>
                    </a:moveTo>
                    <a:cubicBezTo>
                      <a:pt x="131" y="180"/>
                      <a:pt x="131" y="180"/>
                      <a:pt x="131" y="180"/>
                    </a:cubicBezTo>
                    <a:cubicBezTo>
                      <a:pt x="131" y="162"/>
                      <a:pt x="131" y="162"/>
                      <a:pt x="131" y="162"/>
                    </a:cubicBezTo>
                    <a:cubicBezTo>
                      <a:pt x="284" y="162"/>
                      <a:pt x="284" y="162"/>
                      <a:pt x="284" y="162"/>
                    </a:cubicBezTo>
                    <a:lnTo>
                      <a:pt x="284" y="180"/>
                    </a:lnTo>
                    <a:close/>
                    <a:moveTo>
                      <a:pt x="284" y="234"/>
                    </a:moveTo>
                    <a:cubicBezTo>
                      <a:pt x="131" y="234"/>
                      <a:pt x="131" y="234"/>
                      <a:pt x="131" y="234"/>
                    </a:cubicBezTo>
                    <a:cubicBezTo>
                      <a:pt x="131" y="216"/>
                      <a:pt x="131" y="216"/>
                      <a:pt x="131" y="216"/>
                    </a:cubicBezTo>
                    <a:cubicBezTo>
                      <a:pt x="284" y="216"/>
                      <a:pt x="284" y="216"/>
                      <a:pt x="284" y="216"/>
                    </a:cubicBezTo>
                    <a:lnTo>
                      <a:pt x="284" y="234"/>
                    </a:lnTo>
                    <a:close/>
                    <a:moveTo>
                      <a:pt x="284" y="207"/>
                    </a:moveTo>
                    <a:cubicBezTo>
                      <a:pt x="131" y="207"/>
                      <a:pt x="131" y="207"/>
                      <a:pt x="131" y="207"/>
                    </a:cubicBezTo>
                    <a:cubicBezTo>
                      <a:pt x="131" y="189"/>
                      <a:pt x="131" y="189"/>
                      <a:pt x="131" y="189"/>
                    </a:cubicBezTo>
                    <a:cubicBezTo>
                      <a:pt x="284" y="189"/>
                      <a:pt x="284" y="189"/>
                      <a:pt x="284" y="189"/>
                    </a:cubicBezTo>
                    <a:lnTo>
                      <a:pt x="284" y="207"/>
                    </a:lnTo>
                    <a:close/>
                    <a:moveTo>
                      <a:pt x="131" y="243"/>
                    </a:moveTo>
                    <a:cubicBezTo>
                      <a:pt x="284" y="243"/>
                      <a:pt x="284" y="243"/>
                      <a:pt x="284" y="243"/>
                    </a:cubicBezTo>
                    <a:cubicBezTo>
                      <a:pt x="284" y="261"/>
                      <a:pt x="284" y="261"/>
                      <a:pt x="284" y="261"/>
                    </a:cubicBezTo>
                    <a:cubicBezTo>
                      <a:pt x="131" y="261"/>
                      <a:pt x="131" y="261"/>
                      <a:pt x="131" y="261"/>
                    </a:cubicBezTo>
                    <a:lnTo>
                      <a:pt x="131" y="243"/>
                    </a:lnTo>
                    <a:close/>
                    <a:moveTo>
                      <a:pt x="293" y="162"/>
                    </a:moveTo>
                    <a:cubicBezTo>
                      <a:pt x="338" y="162"/>
                      <a:pt x="338" y="162"/>
                      <a:pt x="338" y="162"/>
                    </a:cubicBezTo>
                    <a:cubicBezTo>
                      <a:pt x="338" y="261"/>
                      <a:pt x="338" y="261"/>
                      <a:pt x="338" y="261"/>
                    </a:cubicBezTo>
                    <a:cubicBezTo>
                      <a:pt x="293" y="261"/>
                      <a:pt x="293" y="261"/>
                      <a:pt x="293" y="261"/>
                    </a:cubicBezTo>
                    <a:lnTo>
                      <a:pt x="293" y="162"/>
                    </a:lnTo>
                    <a:close/>
                    <a:moveTo>
                      <a:pt x="82" y="58"/>
                    </a:moveTo>
                    <a:cubicBezTo>
                      <a:pt x="176" y="11"/>
                      <a:pt x="176" y="11"/>
                      <a:pt x="176" y="11"/>
                    </a:cubicBezTo>
                    <a:cubicBezTo>
                      <a:pt x="179" y="9"/>
                      <a:pt x="183" y="9"/>
                      <a:pt x="186" y="9"/>
                    </a:cubicBezTo>
                    <a:cubicBezTo>
                      <a:pt x="228" y="9"/>
                      <a:pt x="228" y="9"/>
                      <a:pt x="228" y="9"/>
                    </a:cubicBezTo>
                    <a:cubicBezTo>
                      <a:pt x="231" y="9"/>
                      <a:pt x="235" y="9"/>
                      <a:pt x="238" y="11"/>
                    </a:cubicBezTo>
                    <a:cubicBezTo>
                      <a:pt x="333" y="58"/>
                      <a:pt x="333" y="58"/>
                      <a:pt x="333" y="58"/>
                    </a:cubicBezTo>
                    <a:cubicBezTo>
                      <a:pt x="336" y="60"/>
                      <a:pt x="338" y="63"/>
                      <a:pt x="338" y="66"/>
                    </a:cubicBezTo>
                    <a:cubicBezTo>
                      <a:pt x="338" y="153"/>
                      <a:pt x="338" y="153"/>
                      <a:pt x="338" y="153"/>
                    </a:cubicBezTo>
                    <a:cubicBezTo>
                      <a:pt x="77" y="153"/>
                      <a:pt x="77" y="153"/>
                      <a:pt x="77" y="153"/>
                    </a:cubicBezTo>
                    <a:cubicBezTo>
                      <a:pt x="77" y="66"/>
                      <a:pt x="77" y="66"/>
                      <a:pt x="77" y="66"/>
                    </a:cubicBezTo>
                    <a:cubicBezTo>
                      <a:pt x="77" y="63"/>
                      <a:pt x="78" y="60"/>
                      <a:pt x="82" y="58"/>
                    </a:cubicBezTo>
                    <a:moveTo>
                      <a:pt x="77" y="162"/>
                    </a:moveTo>
                    <a:cubicBezTo>
                      <a:pt x="122" y="162"/>
                      <a:pt x="122" y="162"/>
                      <a:pt x="122" y="162"/>
                    </a:cubicBezTo>
                    <a:cubicBezTo>
                      <a:pt x="122" y="261"/>
                      <a:pt x="122" y="261"/>
                      <a:pt x="122" y="261"/>
                    </a:cubicBezTo>
                    <a:cubicBezTo>
                      <a:pt x="77" y="261"/>
                      <a:pt x="77" y="261"/>
                      <a:pt x="77" y="261"/>
                    </a:cubicBezTo>
                    <a:lnTo>
                      <a:pt x="77" y="162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49" name="Rectangle 11">
                <a:extLst>
                  <a:ext uri="{FF2B5EF4-FFF2-40B4-BE49-F238E27FC236}">
                    <a16:creationId xmlns:a16="http://schemas.microsoft.com/office/drawing/2014/main" id="{9A1B69BE-AE27-4BA3-B939-1766629036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8231" y="2526829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50" name="Rectangle 12">
                <a:extLst>
                  <a:ext uri="{FF2B5EF4-FFF2-40B4-BE49-F238E27FC236}">
                    <a16:creationId xmlns:a16="http://schemas.microsoft.com/office/drawing/2014/main" id="{7E151830-49FF-4228-BDDE-A186875C49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5911" y="2526829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51" name="Rectangle 13">
                <a:extLst>
                  <a:ext uri="{FF2B5EF4-FFF2-40B4-BE49-F238E27FC236}">
                    <a16:creationId xmlns:a16="http://schemas.microsoft.com/office/drawing/2014/main" id="{214F86E8-E500-4139-92AA-FFFE9D5896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4272" y="2526829"/>
                <a:ext cx="13806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52" name="Rectangle 14">
                <a:extLst>
                  <a:ext uri="{FF2B5EF4-FFF2-40B4-BE49-F238E27FC236}">
                    <a16:creationId xmlns:a16="http://schemas.microsoft.com/office/drawing/2014/main" id="{08179E11-3545-4EC2-814C-D2630FF1FD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9871" y="2526829"/>
                <a:ext cx="16568" cy="4418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CD1F265-E9D9-4FCE-867B-023453B18070}"/>
                </a:ext>
              </a:extLst>
            </p:cNvPr>
            <p:cNvGrpSpPr/>
            <p:nvPr/>
          </p:nvGrpSpPr>
          <p:grpSpPr>
            <a:xfrm>
              <a:off x="9427898" y="1833456"/>
              <a:ext cx="670987" cy="320307"/>
              <a:chOff x="5085411" y="734770"/>
              <a:chExt cx="670987" cy="320307"/>
            </a:xfrm>
          </p:grpSpPr>
          <p:sp>
            <p:nvSpPr>
              <p:cNvPr id="43" name="Freeform 46">
                <a:extLst>
                  <a:ext uri="{FF2B5EF4-FFF2-40B4-BE49-F238E27FC236}">
                    <a16:creationId xmlns:a16="http://schemas.microsoft.com/office/drawing/2014/main" id="{03C91DEC-B6E7-4677-B483-D3859E417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5411" y="1038509"/>
                <a:ext cx="670987" cy="16568"/>
              </a:xfrm>
              <a:custGeom>
                <a:avLst/>
                <a:gdLst>
                  <a:gd name="T0" fmla="*/ 193 w 243"/>
                  <a:gd name="T1" fmla="*/ 0 h 6"/>
                  <a:gd name="T2" fmla="*/ 113 w 243"/>
                  <a:gd name="T3" fmla="*/ 0 h 6"/>
                  <a:gd name="T4" fmla="*/ 50 w 243"/>
                  <a:gd name="T5" fmla="*/ 0 h 6"/>
                  <a:gd name="T6" fmla="*/ 0 w 243"/>
                  <a:gd name="T7" fmla="*/ 0 h 6"/>
                  <a:gd name="T8" fmla="*/ 0 w 243"/>
                  <a:gd name="T9" fmla="*/ 6 h 6"/>
                  <a:gd name="T10" fmla="*/ 243 w 243"/>
                  <a:gd name="T11" fmla="*/ 6 h 6"/>
                  <a:gd name="T12" fmla="*/ 243 w 243"/>
                  <a:gd name="T13" fmla="*/ 0 h 6"/>
                  <a:gd name="T14" fmla="*/ 193 w 243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6">
                    <a:moveTo>
                      <a:pt x="193" y="0"/>
                    </a:moveTo>
                    <a:lnTo>
                      <a:pt x="113" y="0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43" y="6"/>
                    </a:lnTo>
                    <a:lnTo>
                      <a:pt x="243" y="0"/>
                    </a:lnTo>
                    <a:lnTo>
                      <a:pt x="193" y="0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44" name="Freeform 47">
                <a:extLst>
                  <a:ext uri="{FF2B5EF4-FFF2-40B4-BE49-F238E27FC236}">
                    <a16:creationId xmlns:a16="http://schemas.microsoft.com/office/drawing/2014/main" id="{5D9B0016-F29F-4470-B66A-C6A4A3F349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9591" y="734770"/>
                <a:ext cx="582626" cy="303739"/>
              </a:xfrm>
              <a:custGeom>
                <a:avLst/>
                <a:gdLst>
                  <a:gd name="T0" fmla="*/ 135 w 360"/>
                  <a:gd name="T1" fmla="*/ 162 h 189"/>
                  <a:gd name="T2" fmla="*/ 197 w 360"/>
                  <a:gd name="T3" fmla="*/ 162 h 189"/>
                  <a:gd name="T4" fmla="*/ 301 w 360"/>
                  <a:gd name="T5" fmla="*/ 189 h 189"/>
                  <a:gd name="T6" fmla="*/ 351 w 360"/>
                  <a:gd name="T7" fmla="*/ 162 h 189"/>
                  <a:gd name="T8" fmla="*/ 360 w 360"/>
                  <a:gd name="T9" fmla="*/ 103 h 189"/>
                  <a:gd name="T10" fmla="*/ 358 w 360"/>
                  <a:gd name="T11" fmla="*/ 79 h 189"/>
                  <a:gd name="T12" fmla="*/ 326 w 360"/>
                  <a:gd name="T13" fmla="*/ 45 h 189"/>
                  <a:gd name="T14" fmla="*/ 243 w 360"/>
                  <a:gd name="T15" fmla="*/ 54 h 189"/>
                  <a:gd name="T16" fmla="*/ 243 w 360"/>
                  <a:gd name="T17" fmla="*/ 153 h 189"/>
                  <a:gd name="T18" fmla="*/ 225 w 360"/>
                  <a:gd name="T19" fmla="*/ 9 h 189"/>
                  <a:gd name="T20" fmla="*/ 9 w 360"/>
                  <a:gd name="T21" fmla="*/ 0 h 189"/>
                  <a:gd name="T22" fmla="*/ 0 w 360"/>
                  <a:gd name="T23" fmla="*/ 153 h 189"/>
                  <a:gd name="T24" fmla="*/ 27 w 360"/>
                  <a:gd name="T25" fmla="*/ 162 h 189"/>
                  <a:gd name="T26" fmla="*/ 89 w 360"/>
                  <a:gd name="T27" fmla="*/ 162 h 189"/>
                  <a:gd name="T28" fmla="*/ 144 w 360"/>
                  <a:gd name="T29" fmla="*/ 157 h 189"/>
                  <a:gd name="T30" fmla="*/ 189 w 360"/>
                  <a:gd name="T31" fmla="*/ 157 h 189"/>
                  <a:gd name="T32" fmla="*/ 301 w 360"/>
                  <a:gd name="T33" fmla="*/ 180 h 189"/>
                  <a:gd name="T34" fmla="*/ 301 w 360"/>
                  <a:gd name="T35" fmla="*/ 135 h 189"/>
                  <a:gd name="T36" fmla="*/ 301 w 360"/>
                  <a:gd name="T37" fmla="*/ 180 h 189"/>
                  <a:gd name="T38" fmla="*/ 326 w 360"/>
                  <a:gd name="T39" fmla="*/ 54 h 189"/>
                  <a:gd name="T40" fmla="*/ 351 w 360"/>
                  <a:gd name="T41" fmla="*/ 99 h 189"/>
                  <a:gd name="T42" fmla="*/ 252 w 360"/>
                  <a:gd name="T43" fmla="*/ 54 h 189"/>
                  <a:gd name="T44" fmla="*/ 351 w 360"/>
                  <a:gd name="T45" fmla="*/ 108 h 189"/>
                  <a:gd name="T46" fmla="*/ 332 w 360"/>
                  <a:gd name="T47" fmla="*/ 153 h 189"/>
                  <a:gd name="T48" fmla="*/ 270 w 360"/>
                  <a:gd name="T49" fmla="*/ 153 h 189"/>
                  <a:gd name="T50" fmla="*/ 252 w 360"/>
                  <a:gd name="T51" fmla="*/ 108 h 189"/>
                  <a:gd name="T52" fmla="*/ 216 w 360"/>
                  <a:gd name="T53" fmla="*/ 9 h 189"/>
                  <a:gd name="T54" fmla="*/ 197 w 360"/>
                  <a:gd name="T55" fmla="*/ 153 h 189"/>
                  <a:gd name="T56" fmla="*/ 135 w 360"/>
                  <a:gd name="T57" fmla="*/ 153 h 189"/>
                  <a:gd name="T58" fmla="*/ 58 w 360"/>
                  <a:gd name="T59" fmla="*/ 126 h 189"/>
                  <a:gd name="T60" fmla="*/ 9 w 360"/>
                  <a:gd name="T61" fmla="*/ 153 h 189"/>
                  <a:gd name="T62" fmla="*/ 58 w 360"/>
                  <a:gd name="T63" fmla="*/ 180 h 189"/>
                  <a:gd name="T64" fmla="*/ 58 w 360"/>
                  <a:gd name="T65" fmla="*/ 135 h 189"/>
                  <a:gd name="T66" fmla="*/ 58 w 360"/>
                  <a:gd name="T67" fmla="*/ 18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60" h="189">
                    <a:moveTo>
                      <a:pt x="89" y="162"/>
                    </a:moveTo>
                    <a:cubicBezTo>
                      <a:pt x="135" y="162"/>
                      <a:pt x="135" y="162"/>
                      <a:pt x="135" y="162"/>
                    </a:cubicBezTo>
                    <a:cubicBezTo>
                      <a:pt x="138" y="177"/>
                      <a:pt x="151" y="189"/>
                      <a:pt x="166" y="189"/>
                    </a:cubicBezTo>
                    <a:cubicBezTo>
                      <a:pt x="182" y="189"/>
                      <a:pt x="195" y="177"/>
                      <a:pt x="197" y="162"/>
                    </a:cubicBezTo>
                    <a:cubicBezTo>
                      <a:pt x="270" y="162"/>
                      <a:pt x="270" y="162"/>
                      <a:pt x="270" y="162"/>
                    </a:cubicBezTo>
                    <a:cubicBezTo>
                      <a:pt x="273" y="177"/>
                      <a:pt x="286" y="189"/>
                      <a:pt x="301" y="189"/>
                    </a:cubicBezTo>
                    <a:cubicBezTo>
                      <a:pt x="317" y="189"/>
                      <a:pt x="330" y="177"/>
                      <a:pt x="332" y="162"/>
                    </a:cubicBezTo>
                    <a:cubicBezTo>
                      <a:pt x="351" y="162"/>
                      <a:pt x="351" y="162"/>
                      <a:pt x="351" y="162"/>
                    </a:cubicBezTo>
                    <a:cubicBezTo>
                      <a:pt x="356" y="162"/>
                      <a:pt x="360" y="158"/>
                      <a:pt x="360" y="153"/>
                    </a:cubicBezTo>
                    <a:cubicBezTo>
                      <a:pt x="360" y="103"/>
                      <a:pt x="360" y="103"/>
                      <a:pt x="360" y="103"/>
                    </a:cubicBezTo>
                    <a:cubicBezTo>
                      <a:pt x="360" y="84"/>
                      <a:pt x="360" y="84"/>
                      <a:pt x="360" y="84"/>
                    </a:cubicBezTo>
                    <a:cubicBezTo>
                      <a:pt x="360" y="82"/>
                      <a:pt x="359" y="80"/>
                      <a:pt x="358" y="79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2" y="46"/>
                      <a:pt x="329" y="45"/>
                      <a:pt x="326" y="45"/>
                    </a:cubicBezTo>
                    <a:cubicBezTo>
                      <a:pt x="252" y="45"/>
                      <a:pt x="252" y="45"/>
                      <a:pt x="252" y="45"/>
                    </a:cubicBezTo>
                    <a:cubicBezTo>
                      <a:pt x="247" y="45"/>
                      <a:pt x="243" y="49"/>
                      <a:pt x="243" y="54"/>
                    </a:cubicBezTo>
                    <a:cubicBezTo>
                      <a:pt x="243" y="103"/>
                      <a:pt x="243" y="103"/>
                      <a:pt x="243" y="103"/>
                    </a:cubicBezTo>
                    <a:cubicBezTo>
                      <a:pt x="243" y="153"/>
                      <a:pt x="243" y="153"/>
                      <a:pt x="243" y="153"/>
                    </a:cubicBezTo>
                    <a:cubicBezTo>
                      <a:pt x="225" y="153"/>
                      <a:pt x="225" y="153"/>
                      <a:pt x="225" y="153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5" y="4"/>
                      <a:pt x="221" y="0"/>
                      <a:pt x="216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4" y="162"/>
                      <a:pt x="9" y="162"/>
                    </a:cubicBezTo>
                    <a:cubicBezTo>
                      <a:pt x="27" y="162"/>
                      <a:pt x="27" y="162"/>
                      <a:pt x="27" y="162"/>
                    </a:cubicBezTo>
                    <a:cubicBezTo>
                      <a:pt x="30" y="177"/>
                      <a:pt x="43" y="189"/>
                      <a:pt x="58" y="189"/>
                    </a:cubicBezTo>
                    <a:cubicBezTo>
                      <a:pt x="74" y="189"/>
                      <a:pt x="87" y="177"/>
                      <a:pt x="89" y="162"/>
                    </a:cubicBezTo>
                    <a:moveTo>
                      <a:pt x="166" y="180"/>
                    </a:moveTo>
                    <a:cubicBezTo>
                      <a:pt x="154" y="180"/>
                      <a:pt x="144" y="169"/>
                      <a:pt x="144" y="157"/>
                    </a:cubicBezTo>
                    <a:cubicBezTo>
                      <a:pt x="144" y="145"/>
                      <a:pt x="154" y="135"/>
                      <a:pt x="166" y="135"/>
                    </a:cubicBezTo>
                    <a:cubicBezTo>
                      <a:pt x="179" y="135"/>
                      <a:pt x="189" y="145"/>
                      <a:pt x="189" y="157"/>
                    </a:cubicBezTo>
                    <a:cubicBezTo>
                      <a:pt x="189" y="169"/>
                      <a:pt x="179" y="180"/>
                      <a:pt x="166" y="180"/>
                    </a:cubicBezTo>
                    <a:moveTo>
                      <a:pt x="301" y="180"/>
                    </a:moveTo>
                    <a:cubicBezTo>
                      <a:pt x="289" y="180"/>
                      <a:pt x="279" y="169"/>
                      <a:pt x="279" y="157"/>
                    </a:cubicBezTo>
                    <a:cubicBezTo>
                      <a:pt x="279" y="145"/>
                      <a:pt x="289" y="135"/>
                      <a:pt x="301" y="135"/>
                    </a:cubicBezTo>
                    <a:cubicBezTo>
                      <a:pt x="314" y="135"/>
                      <a:pt x="324" y="145"/>
                      <a:pt x="324" y="157"/>
                    </a:cubicBezTo>
                    <a:cubicBezTo>
                      <a:pt x="324" y="169"/>
                      <a:pt x="314" y="180"/>
                      <a:pt x="301" y="180"/>
                    </a:cubicBezTo>
                    <a:moveTo>
                      <a:pt x="252" y="54"/>
                    </a:moveTo>
                    <a:cubicBezTo>
                      <a:pt x="326" y="54"/>
                      <a:pt x="326" y="54"/>
                      <a:pt x="326" y="54"/>
                    </a:cubicBezTo>
                    <a:cubicBezTo>
                      <a:pt x="351" y="84"/>
                      <a:pt x="351" y="84"/>
                      <a:pt x="351" y="84"/>
                    </a:cubicBezTo>
                    <a:cubicBezTo>
                      <a:pt x="351" y="99"/>
                      <a:pt x="351" y="99"/>
                      <a:pt x="351" y="99"/>
                    </a:cubicBezTo>
                    <a:cubicBezTo>
                      <a:pt x="252" y="99"/>
                      <a:pt x="252" y="99"/>
                      <a:pt x="252" y="99"/>
                    </a:cubicBezTo>
                    <a:lnTo>
                      <a:pt x="252" y="54"/>
                    </a:lnTo>
                    <a:close/>
                    <a:moveTo>
                      <a:pt x="252" y="108"/>
                    </a:moveTo>
                    <a:cubicBezTo>
                      <a:pt x="351" y="108"/>
                      <a:pt x="351" y="108"/>
                      <a:pt x="351" y="108"/>
                    </a:cubicBezTo>
                    <a:cubicBezTo>
                      <a:pt x="351" y="153"/>
                      <a:pt x="351" y="153"/>
                      <a:pt x="351" y="153"/>
                    </a:cubicBezTo>
                    <a:cubicBezTo>
                      <a:pt x="332" y="153"/>
                      <a:pt x="332" y="153"/>
                      <a:pt x="332" y="153"/>
                    </a:cubicBezTo>
                    <a:cubicBezTo>
                      <a:pt x="330" y="137"/>
                      <a:pt x="317" y="126"/>
                      <a:pt x="301" y="126"/>
                    </a:cubicBezTo>
                    <a:cubicBezTo>
                      <a:pt x="286" y="126"/>
                      <a:pt x="273" y="137"/>
                      <a:pt x="270" y="153"/>
                    </a:cubicBezTo>
                    <a:cubicBezTo>
                      <a:pt x="252" y="153"/>
                      <a:pt x="252" y="153"/>
                      <a:pt x="252" y="153"/>
                    </a:cubicBezTo>
                    <a:lnTo>
                      <a:pt x="252" y="108"/>
                    </a:lnTo>
                    <a:close/>
                    <a:moveTo>
                      <a:pt x="9" y="9"/>
                    </a:moveTo>
                    <a:cubicBezTo>
                      <a:pt x="216" y="9"/>
                      <a:pt x="216" y="9"/>
                      <a:pt x="216" y="9"/>
                    </a:cubicBezTo>
                    <a:cubicBezTo>
                      <a:pt x="216" y="153"/>
                      <a:pt x="216" y="153"/>
                      <a:pt x="216" y="153"/>
                    </a:cubicBezTo>
                    <a:cubicBezTo>
                      <a:pt x="197" y="153"/>
                      <a:pt x="197" y="153"/>
                      <a:pt x="197" y="153"/>
                    </a:cubicBezTo>
                    <a:cubicBezTo>
                      <a:pt x="195" y="137"/>
                      <a:pt x="182" y="126"/>
                      <a:pt x="166" y="126"/>
                    </a:cubicBezTo>
                    <a:cubicBezTo>
                      <a:pt x="151" y="126"/>
                      <a:pt x="138" y="137"/>
                      <a:pt x="135" y="153"/>
                    </a:cubicBezTo>
                    <a:cubicBezTo>
                      <a:pt x="89" y="153"/>
                      <a:pt x="89" y="153"/>
                      <a:pt x="89" y="153"/>
                    </a:cubicBezTo>
                    <a:cubicBezTo>
                      <a:pt x="87" y="137"/>
                      <a:pt x="74" y="126"/>
                      <a:pt x="58" y="126"/>
                    </a:cubicBezTo>
                    <a:cubicBezTo>
                      <a:pt x="43" y="126"/>
                      <a:pt x="30" y="137"/>
                      <a:pt x="27" y="153"/>
                    </a:cubicBezTo>
                    <a:cubicBezTo>
                      <a:pt x="9" y="153"/>
                      <a:pt x="9" y="153"/>
                      <a:pt x="9" y="153"/>
                    </a:cubicBezTo>
                    <a:lnTo>
                      <a:pt x="9" y="9"/>
                    </a:lnTo>
                    <a:close/>
                    <a:moveTo>
                      <a:pt x="58" y="180"/>
                    </a:moveTo>
                    <a:cubicBezTo>
                      <a:pt x="46" y="180"/>
                      <a:pt x="36" y="169"/>
                      <a:pt x="36" y="157"/>
                    </a:cubicBezTo>
                    <a:cubicBezTo>
                      <a:pt x="36" y="145"/>
                      <a:pt x="46" y="135"/>
                      <a:pt x="58" y="135"/>
                    </a:cubicBezTo>
                    <a:cubicBezTo>
                      <a:pt x="71" y="135"/>
                      <a:pt x="81" y="145"/>
                      <a:pt x="81" y="157"/>
                    </a:cubicBezTo>
                    <a:cubicBezTo>
                      <a:pt x="81" y="169"/>
                      <a:pt x="71" y="180"/>
                      <a:pt x="58" y="180"/>
                    </a:cubicBezTo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45" name="Rectangle 48">
                <a:extLst>
                  <a:ext uri="{FF2B5EF4-FFF2-40B4-BE49-F238E27FC236}">
                    <a16:creationId xmlns:a16="http://schemas.microsoft.com/office/drawing/2014/main" id="{C2EB5AF7-63F9-4E0F-BD61-841CF4F7E1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17952" y="806563"/>
                <a:ext cx="13806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46" name="Rectangle 49">
                <a:extLst>
                  <a:ext uri="{FF2B5EF4-FFF2-40B4-BE49-F238E27FC236}">
                    <a16:creationId xmlns:a16="http://schemas.microsoft.com/office/drawing/2014/main" id="{77A67C61-2D2C-48E6-BCA9-DAB12C0A4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1911" y="806563"/>
                <a:ext cx="13806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47" name="Rectangle 50">
                <a:extLst>
                  <a:ext uri="{FF2B5EF4-FFF2-40B4-BE49-F238E27FC236}">
                    <a16:creationId xmlns:a16="http://schemas.microsoft.com/office/drawing/2014/main" id="{A343110D-ADBF-422C-A670-B50C45C687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3551" y="806563"/>
                <a:ext cx="16568" cy="88360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29A767C0-802E-4061-BB02-6491AA3D40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8258596" y="1876838"/>
              <a:ext cx="174626" cy="164212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CD6BF96B-70AA-4A6A-9174-6524C0FCB8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9154724" y="1876838"/>
              <a:ext cx="174626" cy="164212"/>
            </a:xfrm>
            <a:prstGeom prst="rect">
              <a:avLst/>
            </a:prstGeom>
          </p:spPr>
        </p:pic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0C9675AC-9969-49A9-AC02-C03EC19B48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4728956" y="1876838"/>
              <a:ext cx="174626" cy="164212"/>
            </a:xfrm>
            <a:prstGeom prst="rect">
              <a:avLst/>
            </a:prstGeom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6BFDB99C-BBA0-45DE-8BA6-93792CBC84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5713678" y="1876838"/>
              <a:ext cx="174626" cy="164212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AEBD5001-E96D-4A34-B3B8-D430415646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7215887" y="1876838"/>
              <a:ext cx="174626" cy="164212"/>
            </a:xfrm>
            <a:prstGeom prst="rect">
              <a:avLst/>
            </a:prstGeom>
          </p:spPr>
        </p:pic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1D4FAE37-945E-494B-A0AC-FDB58DA580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9442" t="29732" r="27768" b="30031"/>
            <a:stretch/>
          </p:blipFill>
          <p:spPr>
            <a:xfrm>
              <a:off x="10197433" y="1876838"/>
              <a:ext cx="174626" cy="164212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6C30185-B7CC-410C-AD9D-8179A7652D24}"/>
                </a:ext>
              </a:extLst>
            </p:cNvPr>
            <p:cNvGrpSpPr/>
            <p:nvPr/>
          </p:nvGrpSpPr>
          <p:grpSpPr>
            <a:xfrm>
              <a:off x="10470599" y="1739425"/>
              <a:ext cx="640507" cy="416461"/>
              <a:chOff x="5085411" y="2380482"/>
              <a:chExt cx="670987" cy="436279"/>
            </a:xfrm>
          </p:grpSpPr>
          <p:sp>
            <p:nvSpPr>
              <p:cNvPr id="36" name="Freeform 30">
                <a:extLst>
                  <a:ext uri="{FF2B5EF4-FFF2-40B4-BE49-F238E27FC236}">
                    <a16:creationId xmlns:a16="http://schemas.microsoft.com/office/drawing/2014/main" id="{5F2B0DF9-8AA9-4625-835E-C58D8D5AD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85411" y="2380482"/>
                <a:ext cx="670987" cy="436279"/>
              </a:xfrm>
              <a:custGeom>
                <a:avLst/>
                <a:gdLst>
                  <a:gd name="T0" fmla="*/ 324 w 414"/>
                  <a:gd name="T1" fmla="*/ 261 h 270"/>
                  <a:gd name="T2" fmla="*/ 324 w 414"/>
                  <a:gd name="T3" fmla="*/ 108 h 270"/>
                  <a:gd name="T4" fmla="*/ 337 w 414"/>
                  <a:gd name="T5" fmla="*/ 108 h 270"/>
                  <a:gd name="T6" fmla="*/ 346 w 414"/>
                  <a:gd name="T7" fmla="*/ 99 h 270"/>
                  <a:gd name="T8" fmla="*/ 346 w 414"/>
                  <a:gd name="T9" fmla="*/ 67 h 270"/>
                  <a:gd name="T10" fmla="*/ 315 w 414"/>
                  <a:gd name="T11" fmla="*/ 36 h 270"/>
                  <a:gd name="T12" fmla="*/ 279 w 414"/>
                  <a:gd name="T13" fmla="*/ 36 h 270"/>
                  <a:gd name="T14" fmla="*/ 279 w 414"/>
                  <a:gd name="T15" fmla="*/ 18 h 270"/>
                  <a:gd name="T16" fmla="*/ 261 w 414"/>
                  <a:gd name="T17" fmla="*/ 0 h 270"/>
                  <a:gd name="T18" fmla="*/ 153 w 414"/>
                  <a:gd name="T19" fmla="*/ 0 h 270"/>
                  <a:gd name="T20" fmla="*/ 135 w 414"/>
                  <a:gd name="T21" fmla="*/ 18 h 270"/>
                  <a:gd name="T22" fmla="*/ 135 w 414"/>
                  <a:gd name="T23" fmla="*/ 36 h 270"/>
                  <a:gd name="T24" fmla="*/ 99 w 414"/>
                  <a:gd name="T25" fmla="*/ 36 h 270"/>
                  <a:gd name="T26" fmla="*/ 67 w 414"/>
                  <a:gd name="T27" fmla="*/ 67 h 270"/>
                  <a:gd name="T28" fmla="*/ 67 w 414"/>
                  <a:gd name="T29" fmla="*/ 99 h 270"/>
                  <a:gd name="T30" fmla="*/ 76 w 414"/>
                  <a:gd name="T31" fmla="*/ 108 h 270"/>
                  <a:gd name="T32" fmla="*/ 90 w 414"/>
                  <a:gd name="T33" fmla="*/ 108 h 270"/>
                  <a:gd name="T34" fmla="*/ 90 w 414"/>
                  <a:gd name="T35" fmla="*/ 261 h 270"/>
                  <a:gd name="T36" fmla="*/ 0 w 414"/>
                  <a:gd name="T37" fmla="*/ 261 h 270"/>
                  <a:gd name="T38" fmla="*/ 0 w 414"/>
                  <a:gd name="T39" fmla="*/ 270 h 270"/>
                  <a:gd name="T40" fmla="*/ 414 w 414"/>
                  <a:gd name="T41" fmla="*/ 270 h 270"/>
                  <a:gd name="T42" fmla="*/ 414 w 414"/>
                  <a:gd name="T43" fmla="*/ 261 h 270"/>
                  <a:gd name="T44" fmla="*/ 324 w 414"/>
                  <a:gd name="T45" fmla="*/ 261 h 270"/>
                  <a:gd name="T46" fmla="*/ 315 w 414"/>
                  <a:gd name="T47" fmla="*/ 261 h 270"/>
                  <a:gd name="T48" fmla="*/ 234 w 414"/>
                  <a:gd name="T49" fmla="*/ 261 h 270"/>
                  <a:gd name="T50" fmla="*/ 234 w 414"/>
                  <a:gd name="T51" fmla="*/ 108 h 270"/>
                  <a:gd name="T52" fmla="*/ 315 w 414"/>
                  <a:gd name="T53" fmla="*/ 108 h 270"/>
                  <a:gd name="T54" fmla="*/ 315 w 414"/>
                  <a:gd name="T55" fmla="*/ 261 h 270"/>
                  <a:gd name="T56" fmla="*/ 144 w 414"/>
                  <a:gd name="T57" fmla="*/ 18 h 270"/>
                  <a:gd name="T58" fmla="*/ 153 w 414"/>
                  <a:gd name="T59" fmla="*/ 9 h 270"/>
                  <a:gd name="T60" fmla="*/ 261 w 414"/>
                  <a:gd name="T61" fmla="*/ 9 h 270"/>
                  <a:gd name="T62" fmla="*/ 270 w 414"/>
                  <a:gd name="T63" fmla="*/ 18 h 270"/>
                  <a:gd name="T64" fmla="*/ 270 w 414"/>
                  <a:gd name="T65" fmla="*/ 36 h 270"/>
                  <a:gd name="T66" fmla="*/ 144 w 414"/>
                  <a:gd name="T67" fmla="*/ 36 h 270"/>
                  <a:gd name="T68" fmla="*/ 144 w 414"/>
                  <a:gd name="T69" fmla="*/ 18 h 270"/>
                  <a:gd name="T70" fmla="*/ 76 w 414"/>
                  <a:gd name="T71" fmla="*/ 67 h 270"/>
                  <a:gd name="T72" fmla="*/ 99 w 414"/>
                  <a:gd name="T73" fmla="*/ 45 h 270"/>
                  <a:gd name="T74" fmla="*/ 139 w 414"/>
                  <a:gd name="T75" fmla="*/ 45 h 270"/>
                  <a:gd name="T76" fmla="*/ 274 w 414"/>
                  <a:gd name="T77" fmla="*/ 45 h 270"/>
                  <a:gd name="T78" fmla="*/ 315 w 414"/>
                  <a:gd name="T79" fmla="*/ 45 h 270"/>
                  <a:gd name="T80" fmla="*/ 337 w 414"/>
                  <a:gd name="T81" fmla="*/ 67 h 270"/>
                  <a:gd name="T82" fmla="*/ 337 w 414"/>
                  <a:gd name="T83" fmla="*/ 99 h 270"/>
                  <a:gd name="T84" fmla="*/ 337 w 414"/>
                  <a:gd name="T85" fmla="*/ 99 h 270"/>
                  <a:gd name="T86" fmla="*/ 337 w 414"/>
                  <a:gd name="T87" fmla="*/ 103 h 270"/>
                  <a:gd name="T88" fmla="*/ 337 w 414"/>
                  <a:gd name="T89" fmla="*/ 99 h 270"/>
                  <a:gd name="T90" fmla="*/ 76 w 414"/>
                  <a:gd name="T91" fmla="*/ 99 h 270"/>
                  <a:gd name="T92" fmla="*/ 76 w 414"/>
                  <a:gd name="T93" fmla="*/ 67 h 270"/>
                  <a:gd name="T94" fmla="*/ 99 w 414"/>
                  <a:gd name="T95" fmla="*/ 108 h 270"/>
                  <a:gd name="T96" fmla="*/ 225 w 414"/>
                  <a:gd name="T97" fmla="*/ 108 h 270"/>
                  <a:gd name="T98" fmla="*/ 225 w 414"/>
                  <a:gd name="T99" fmla="*/ 261 h 270"/>
                  <a:gd name="T100" fmla="*/ 99 w 414"/>
                  <a:gd name="T101" fmla="*/ 261 h 270"/>
                  <a:gd name="T102" fmla="*/ 99 w 414"/>
                  <a:gd name="T103" fmla="*/ 108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14" h="270">
                    <a:moveTo>
                      <a:pt x="324" y="261"/>
                    </a:moveTo>
                    <a:cubicBezTo>
                      <a:pt x="324" y="108"/>
                      <a:pt x="324" y="108"/>
                      <a:pt x="324" y="108"/>
                    </a:cubicBezTo>
                    <a:cubicBezTo>
                      <a:pt x="337" y="108"/>
                      <a:pt x="337" y="108"/>
                      <a:pt x="337" y="108"/>
                    </a:cubicBezTo>
                    <a:cubicBezTo>
                      <a:pt x="342" y="108"/>
                      <a:pt x="346" y="103"/>
                      <a:pt x="346" y="99"/>
                    </a:cubicBezTo>
                    <a:cubicBezTo>
                      <a:pt x="346" y="67"/>
                      <a:pt x="346" y="67"/>
                      <a:pt x="346" y="67"/>
                    </a:cubicBezTo>
                    <a:cubicBezTo>
                      <a:pt x="346" y="50"/>
                      <a:pt x="332" y="36"/>
                      <a:pt x="315" y="36"/>
                    </a:cubicBezTo>
                    <a:cubicBezTo>
                      <a:pt x="279" y="36"/>
                      <a:pt x="279" y="36"/>
                      <a:pt x="279" y="36"/>
                    </a:cubicBezTo>
                    <a:cubicBezTo>
                      <a:pt x="279" y="18"/>
                      <a:pt x="279" y="18"/>
                      <a:pt x="279" y="18"/>
                    </a:cubicBezTo>
                    <a:cubicBezTo>
                      <a:pt x="279" y="8"/>
                      <a:pt x="271" y="0"/>
                      <a:pt x="261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43" y="0"/>
                      <a:pt x="135" y="8"/>
                      <a:pt x="135" y="18"/>
                    </a:cubicBezTo>
                    <a:cubicBezTo>
                      <a:pt x="135" y="36"/>
                      <a:pt x="135" y="36"/>
                      <a:pt x="135" y="36"/>
                    </a:cubicBezTo>
                    <a:cubicBezTo>
                      <a:pt x="99" y="36"/>
                      <a:pt x="99" y="36"/>
                      <a:pt x="99" y="36"/>
                    </a:cubicBezTo>
                    <a:cubicBezTo>
                      <a:pt x="82" y="36"/>
                      <a:pt x="67" y="50"/>
                      <a:pt x="67" y="67"/>
                    </a:cubicBezTo>
                    <a:cubicBezTo>
                      <a:pt x="67" y="99"/>
                      <a:pt x="67" y="99"/>
                      <a:pt x="67" y="99"/>
                    </a:cubicBezTo>
                    <a:cubicBezTo>
                      <a:pt x="67" y="103"/>
                      <a:pt x="71" y="108"/>
                      <a:pt x="76" y="108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0" y="261"/>
                      <a:pt x="90" y="261"/>
                      <a:pt x="90" y="261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4" y="261"/>
                      <a:pt x="414" y="261"/>
                      <a:pt x="414" y="261"/>
                    </a:cubicBezTo>
                    <a:lnTo>
                      <a:pt x="324" y="261"/>
                    </a:lnTo>
                    <a:close/>
                    <a:moveTo>
                      <a:pt x="315" y="261"/>
                    </a:moveTo>
                    <a:cubicBezTo>
                      <a:pt x="234" y="261"/>
                      <a:pt x="234" y="261"/>
                      <a:pt x="234" y="261"/>
                    </a:cubicBezTo>
                    <a:cubicBezTo>
                      <a:pt x="234" y="108"/>
                      <a:pt x="234" y="108"/>
                      <a:pt x="234" y="108"/>
                    </a:cubicBezTo>
                    <a:cubicBezTo>
                      <a:pt x="315" y="108"/>
                      <a:pt x="315" y="108"/>
                      <a:pt x="315" y="108"/>
                    </a:cubicBezTo>
                    <a:lnTo>
                      <a:pt x="315" y="261"/>
                    </a:lnTo>
                    <a:close/>
                    <a:moveTo>
                      <a:pt x="144" y="18"/>
                    </a:moveTo>
                    <a:cubicBezTo>
                      <a:pt x="144" y="13"/>
                      <a:pt x="148" y="9"/>
                      <a:pt x="153" y="9"/>
                    </a:cubicBezTo>
                    <a:cubicBezTo>
                      <a:pt x="261" y="9"/>
                      <a:pt x="261" y="9"/>
                      <a:pt x="261" y="9"/>
                    </a:cubicBezTo>
                    <a:cubicBezTo>
                      <a:pt x="266" y="9"/>
                      <a:pt x="270" y="13"/>
                      <a:pt x="270" y="18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144" y="36"/>
                      <a:pt x="144" y="36"/>
                      <a:pt x="144" y="36"/>
                    </a:cubicBezTo>
                    <a:lnTo>
                      <a:pt x="144" y="18"/>
                    </a:lnTo>
                    <a:close/>
                    <a:moveTo>
                      <a:pt x="76" y="67"/>
                    </a:moveTo>
                    <a:cubicBezTo>
                      <a:pt x="76" y="55"/>
                      <a:pt x="87" y="45"/>
                      <a:pt x="99" y="45"/>
                    </a:cubicBezTo>
                    <a:cubicBezTo>
                      <a:pt x="139" y="45"/>
                      <a:pt x="139" y="45"/>
                      <a:pt x="139" y="45"/>
                    </a:cubicBezTo>
                    <a:cubicBezTo>
                      <a:pt x="274" y="45"/>
                      <a:pt x="274" y="45"/>
                      <a:pt x="274" y="45"/>
                    </a:cubicBezTo>
                    <a:cubicBezTo>
                      <a:pt x="315" y="45"/>
                      <a:pt x="315" y="45"/>
                      <a:pt x="315" y="45"/>
                    </a:cubicBezTo>
                    <a:cubicBezTo>
                      <a:pt x="327" y="45"/>
                      <a:pt x="337" y="55"/>
                      <a:pt x="337" y="67"/>
                    </a:cubicBezTo>
                    <a:cubicBezTo>
                      <a:pt x="337" y="99"/>
                      <a:pt x="337" y="99"/>
                      <a:pt x="337" y="99"/>
                    </a:cubicBezTo>
                    <a:cubicBezTo>
                      <a:pt x="337" y="99"/>
                      <a:pt x="337" y="99"/>
                      <a:pt x="337" y="99"/>
                    </a:cubicBezTo>
                    <a:cubicBezTo>
                      <a:pt x="337" y="103"/>
                      <a:pt x="337" y="103"/>
                      <a:pt x="337" y="103"/>
                    </a:cubicBezTo>
                    <a:cubicBezTo>
                      <a:pt x="337" y="99"/>
                      <a:pt x="337" y="99"/>
                      <a:pt x="337" y="99"/>
                    </a:cubicBezTo>
                    <a:cubicBezTo>
                      <a:pt x="76" y="99"/>
                      <a:pt x="76" y="99"/>
                      <a:pt x="76" y="99"/>
                    </a:cubicBezTo>
                    <a:lnTo>
                      <a:pt x="76" y="67"/>
                    </a:lnTo>
                    <a:close/>
                    <a:moveTo>
                      <a:pt x="99" y="108"/>
                    </a:moveTo>
                    <a:cubicBezTo>
                      <a:pt x="225" y="108"/>
                      <a:pt x="225" y="108"/>
                      <a:pt x="225" y="108"/>
                    </a:cubicBezTo>
                    <a:cubicBezTo>
                      <a:pt x="225" y="261"/>
                      <a:pt x="225" y="261"/>
                      <a:pt x="225" y="261"/>
                    </a:cubicBezTo>
                    <a:cubicBezTo>
                      <a:pt x="99" y="261"/>
                      <a:pt x="99" y="261"/>
                      <a:pt x="99" y="261"/>
                    </a:cubicBezTo>
                    <a:lnTo>
                      <a:pt x="99" y="108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37" name="Rectangle 31">
                <a:extLst>
                  <a:ext uri="{FF2B5EF4-FFF2-40B4-BE49-F238E27FC236}">
                    <a16:creationId xmlns:a16="http://schemas.microsoft.com/office/drawing/2014/main" id="{1E52E7A5-49BC-485C-BD95-FF9A4B1F0E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9447" y="2482649"/>
                <a:ext cx="16568" cy="30374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38" name="Rectangle 32">
                <a:extLst>
                  <a:ext uri="{FF2B5EF4-FFF2-40B4-BE49-F238E27FC236}">
                    <a16:creationId xmlns:a16="http://schemas.microsoft.com/office/drawing/2014/main" id="{46A2231A-F6EF-414F-A3E1-3ACE11AC87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7655" y="2482649"/>
                <a:ext cx="13806" cy="30374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39" name="Rectangle 33">
                <a:extLst>
                  <a:ext uri="{FF2B5EF4-FFF2-40B4-BE49-F238E27FC236}">
                    <a16:creationId xmlns:a16="http://schemas.microsoft.com/office/drawing/2014/main" id="{2AD30B01-2AE0-496A-A98C-0411BAF9FF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5794" y="2482649"/>
                <a:ext cx="13806" cy="30374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40" name="Rectangle 34">
                <a:extLst>
                  <a:ext uri="{FF2B5EF4-FFF2-40B4-BE49-F238E27FC236}">
                    <a16:creationId xmlns:a16="http://schemas.microsoft.com/office/drawing/2014/main" id="{2FDCDC61-CE00-4150-BF2E-7F39A0D23F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4001" y="2482649"/>
                <a:ext cx="13806" cy="30374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41" name="Rectangle 35">
                <a:extLst>
                  <a:ext uri="{FF2B5EF4-FFF2-40B4-BE49-F238E27FC236}">
                    <a16:creationId xmlns:a16="http://schemas.microsoft.com/office/drawing/2014/main" id="{5630FC12-912C-41C7-94CD-9301D584F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5794" y="2664892"/>
                <a:ext cx="13806" cy="27613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42" name="Rectangle 36">
                <a:extLst>
                  <a:ext uri="{FF2B5EF4-FFF2-40B4-BE49-F238E27FC236}">
                    <a16:creationId xmlns:a16="http://schemas.microsoft.com/office/drawing/2014/main" id="{39B500DE-8BCF-443F-B068-C860F0AB19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60348" y="2482649"/>
                <a:ext cx="13806" cy="30374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BC88411D-C100-4F2A-B982-6F8AE2BC0485}"/>
                </a:ext>
              </a:extLst>
            </p:cNvPr>
            <p:cNvSpPr>
              <a:spLocks noEditPoints="1"/>
            </p:cNvSpPr>
            <p:nvPr/>
          </p:nvSpPr>
          <p:spPr bwMode="auto">
            <a:xfrm rot="20573747">
              <a:off x="6009136" y="1712618"/>
              <a:ext cx="322654" cy="287338"/>
            </a:xfrm>
            <a:custGeom>
              <a:avLst/>
              <a:gdLst>
                <a:gd name="T0" fmla="*/ 335 w 342"/>
                <a:gd name="T1" fmla="*/ 147 h 306"/>
                <a:gd name="T2" fmla="*/ 313 w 342"/>
                <a:gd name="T3" fmla="*/ 120 h 306"/>
                <a:gd name="T4" fmla="*/ 288 w 342"/>
                <a:gd name="T5" fmla="*/ 108 h 306"/>
                <a:gd name="T6" fmla="*/ 237 w 342"/>
                <a:gd name="T7" fmla="*/ 108 h 306"/>
                <a:gd name="T8" fmla="*/ 153 w 342"/>
                <a:gd name="T9" fmla="*/ 3 h 306"/>
                <a:gd name="T10" fmla="*/ 146 w 342"/>
                <a:gd name="T11" fmla="*/ 0 h 306"/>
                <a:gd name="T12" fmla="*/ 136 w 342"/>
                <a:gd name="T13" fmla="*/ 0 h 306"/>
                <a:gd name="T14" fmla="*/ 129 w 342"/>
                <a:gd name="T15" fmla="*/ 3 h 306"/>
                <a:gd name="T16" fmla="*/ 127 w 342"/>
                <a:gd name="T17" fmla="*/ 10 h 306"/>
                <a:gd name="T18" fmla="*/ 146 w 342"/>
                <a:gd name="T19" fmla="*/ 108 h 306"/>
                <a:gd name="T20" fmla="*/ 69 w 342"/>
                <a:gd name="T21" fmla="*/ 108 h 306"/>
                <a:gd name="T22" fmla="*/ 36 w 342"/>
                <a:gd name="T23" fmla="*/ 66 h 306"/>
                <a:gd name="T24" fmla="*/ 29 w 342"/>
                <a:gd name="T25" fmla="*/ 63 h 306"/>
                <a:gd name="T26" fmla="*/ 9 w 342"/>
                <a:gd name="T27" fmla="*/ 63 h 306"/>
                <a:gd name="T28" fmla="*/ 0 w 342"/>
                <a:gd name="T29" fmla="*/ 72 h 306"/>
                <a:gd name="T30" fmla="*/ 0 w 342"/>
                <a:gd name="T31" fmla="*/ 112 h 306"/>
                <a:gd name="T32" fmla="*/ 0 w 342"/>
                <a:gd name="T33" fmla="*/ 130 h 306"/>
                <a:gd name="T34" fmla="*/ 7 w 342"/>
                <a:gd name="T35" fmla="*/ 149 h 306"/>
                <a:gd name="T36" fmla="*/ 36 w 342"/>
                <a:gd name="T37" fmla="*/ 186 h 306"/>
                <a:gd name="T38" fmla="*/ 60 w 342"/>
                <a:gd name="T39" fmla="*/ 198 h 306"/>
                <a:gd name="T40" fmla="*/ 146 w 342"/>
                <a:gd name="T41" fmla="*/ 198 h 306"/>
                <a:gd name="T42" fmla="*/ 127 w 342"/>
                <a:gd name="T43" fmla="*/ 295 h 306"/>
                <a:gd name="T44" fmla="*/ 129 w 342"/>
                <a:gd name="T45" fmla="*/ 302 h 306"/>
                <a:gd name="T46" fmla="*/ 136 w 342"/>
                <a:gd name="T47" fmla="*/ 306 h 306"/>
                <a:gd name="T48" fmla="*/ 146 w 342"/>
                <a:gd name="T49" fmla="*/ 306 h 306"/>
                <a:gd name="T50" fmla="*/ 153 w 342"/>
                <a:gd name="T51" fmla="*/ 302 h 306"/>
                <a:gd name="T52" fmla="*/ 237 w 342"/>
                <a:gd name="T53" fmla="*/ 198 h 306"/>
                <a:gd name="T54" fmla="*/ 310 w 342"/>
                <a:gd name="T55" fmla="*/ 198 h 306"/>
                <a:gd name="T56" fmla="*/ 342 w 342"/>
                <a:gd name="T57" fmla="*/ 166 h 306"/>
                <a:gd name="T58" fmla="*/ 335 w 342"/>
                <a:gd name="T59" fmla="*/ 147 h 306"/>
                <a:gd name="T60" fmla="*/ 136 w 342"/>
                <a:gd name="T61" fmla="*/ 9 h 306"/>
                <a:gd name="T62" fmla="*/ 146 w 342"/>
                <a:gd name="T63" fmla="*/ 9 h 306"/>
                <a:gd name="T64" fmla="*/ 225 w 342"/>
                <a:gd name="T65" fmla="*/ 108 h 306"/>
                <a:gd name="T66" fmla="*/ 156 w 342"/>
                <a:gd name="T67" fmla="*/ 108 h 306"/>
                <a:gd name="T68" fmla="*/ 136 w 342"/>
                <a:gd name="T69" fmla="*/ 9 h 306"/>
                <a:gd name="T70" fmla="*/ 9 w 342"/>
                <a:gd name="T71" fmla="*/ 72 h 306"/>
                <a:gd name="T72" fmla="*/ 29 w 342"/>
                <a:gd name="T73" fmla="*/ 72 h 306"/>
                <a:gd name="T74" fmla="*/ 58 w 342"/>
                <a:gd name="T75" fmla="*/ 108 h 306"/>
                <a:gd name="T76" fmla="*/ 9 w 342"/>
                <a:gd name="T77" fmla="*/ 108 h 306"/>
                <a:gd name="T78" fmla="*/ 9 w 342"/>
                <a:gd name="T79" fmla="*/ 72 h 306"/>
                <a:gd name="T80" fmla="*/ 146 w 342"/>
                <a:gd name="T81" fmla="*/ 297 h 306"/>
                <a:gd name="T82" fmla="*/ 136 w 342"/>
                <a:gd name="T83" fmla="*/ 297 h 306"/>
                <a:gd name="T84" fmla="*/ 156 w 342"/>
                <a:gd name="T85" fmla="*/ 198 h 306"/>
                <a:gd name="T86" fmla="*/ 225 w 342"/>
                <a:gd name="T87" fmla="*/ 198 h 306"/>
                <a:gd name="T88" fmla="*/ 146 w 342"/>
                <a:gd name="T89" fmla="*/ 297 h 306"/>
                <a:gd name="T90" fmla="*/ 310 w 342"/>
                <a:gd name="T91" fmla="*/ 189 h 306"/>
                <a:gd name="T92" fmla="*/ 60 w 342"/>
                <a:gd name="T93" fmla="*/ 189 h 306"/>
                <a:gd name="T94" fmla="*/ 43 w 342"/>
                <a:gd name="T95" fmla="*/ 180 h 306"/>
                <a:gd name="T96" fmla="*/ 14 w 342"/>
                <a:gd name="T97" fmla="*/ 144 h 306"/>
                <a:gd name="T98" fmla="*/ 9 w 342"/>
                <a:gd name="T99" fmla="*/ 130 h 306"/>
                <a:gd name="T100" fmla="*/ 9 w 342"/>
                <a:gd name="T101" fmla="*/ 117 h 306"/>
                <a:gd name="T102" fmla="*/ 67 w 342"/>
                <a:gd name="T103" fmla="*/ 117 h 306"/>
                <a:gd name="T104" fmla="*/ 288 w 342"/>
                <a:gd name="T105" fmla="*/ 117 h 306"/>
                <a:gd name="T106" fmla="*/ 306 w 342"/>
                <a:gd name="T107" fmla="*/ 125 h 306"/>
                <a:gd name="T108" fmla="*/ 321 w 342"/>
                <a:gd name="T109" fmla="*/ 144 h 306"/>
                <a:gd name="T110" fmla="*/ 261 w 342"/>
                <a:gd name="T111" fmla="*/ 144 h 306"/>
                <a:gd name="T112" fmla="*/ 261 w 342"/>
                <a:gd name="T113" fmla="*/ 153 h 306"/>
                <a:gd name="T114" fmla="*/ 328 w 342"/>
                <a:gd name="T115" fmla="*/ 153 h 306"/>
                <a:gd name="T116" fmla="*/ 328 w 342"/>
                <a:gd name="T117" fmla="*/ 153 h 306"/>
                <a:gd name="T118" fmla="*/ 333 w 342"/>
                <a:gd name="T119" fmla="*/ 166 h 306"/>
                <a:gd name="T120" fmla="*/ 310 w 342"/>
                <a:gd name="T121" fmla="*/ 189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2" h="306">
                  <a:moveTo>
                    <a:pt x="335" y="147"/>
                  </a:moveTo>
                  <a:cubicBezTo>
                    <a:pt x="313" y="120"/>
                    <a:pt x="313" y="120"/>
                    <a:pt x="313" y="120"/>
                  </a:cubicBezTo>
                  <a:cubicBezTo>
                    <a:pt x="307" y="112"/>
                    <a:pt x="298" y="108"/>
                    <a:pt x="288" y="108"/>
                  </a:cubicBezTo>
                  <a:cubicBezTo>
                    <a:pt x="237" y="108"/>
                    <a:pt x="237" y="108"/>
                    <a:pt x="237" y="108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1" y="1"/>
                    <a:pt x="149" y="0"/>
                    <a:pt x="14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3" y="0"/>
                    <a:pt x="130" y="1"/>
                    <a:pt x="129" y="3"/>
                  </a:cubicBezTo>
                  <a:cubicBezTo>
                    <a:pt x="127" y="5"/>
                    <a:pt x="126" y="8"/>
                    <a:pt x="127" y="10"/>
                  </a:cubicBezTo>
                  <a:cubicBezTo>
                    <a:pt x="146" y="108"/>
                    <a:pt x="146" y="108"/>
                    <a:pt x="146" y="108"/>
                  </a:cubicBezTo>
                  <a:cubicBezTo>
                    <a:pt x="69" y="108"/>
                    <a:pt x="69" y="108"/>
                    <a:pt x="69" y="108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4" y="64"/>
                    <a:pt x="32" y="63"/>
                    <a:pt x="29" y="63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4" y="63"/>
                    <a:pt x="0" y="67"/>
                    <a:pt x="0" y="7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7"/>
                    <a:pt x="2" y="144"/>
                    <a:pt x="7" y="149"/>
                  </a:cubicBezTo>
                  <a:cubicBezTo>
                    <a:pt x="36" y="186"/>
                    <a:pt x="36" y="186"/>
                    <a:pt x="36" y="186"/>
                  </a:cubicBezTo>
                  <a:cubicBezTo>
                    <a:pt x="42" y="193"/>
                    <a:pt x="51" y="198"/>
                    <a:pt x="60" y="198"/>
                  </a:cubicBezTo>
                  <a:cubicBezTo>
                    <a:pt x="146" y="198"/>
                    <a:pt x="146" y="198"/>
                    <a:pt x="146" y="198"/>
                  </a:cubicBezTo>
                  <a:cubicBezTo>
                    <a:pt x="127" y="295"/>
                    <a:pt x="127" y="295"/>
                    <a:pt x="127" y="295"/>
                  </a:cubicBezTo>
                  <a:cubicBezTo>
                    <a:pt x="126" y="298"/>
                    <a:pt x="127" y="300"/>
                    <a:pt x="129" y="302"/>
                  </a:cubicBezTo>
                  <a:cubicBezTo>
                    <a:pt x="130" y="304"/>
                    <a:pt x="133" y="306"/>
                    <a:pt x="136" y="306"/>
                  </a:cubicBezTo>
                  <a:cubicBezTo>
                    <a:pt x="146" y="306"/>
                    <a:pt x="146" y="306"/>
                    <a:pt x="146" y="306"/>
                  </a:cubicBezTo>
                  <a:cubicBezTo>
                    <a:pt x="149" y="306"/>
                    <a:pt x="151" y="304"/>
                    <a:pt x="153" y="302"/>
                  </a:cubicBezTo>
                  <a:cubicBezTo>
                    <a:pt x="237" y="198"/>
                    <a:pt x="237" y="198"/>
                    <a:pt x="237" y="198"/>
                  </a:cubicBezTo>
                  <a:cubicBezTo>
                    <a:pt x="310" y="198"/>
                    <a:pt x="310" y="198"/>
                    <a:pt x="310" y="198"/>
                  </a:cubicBezTo>
                  <a:cubicBezTo>
                    <a:pt x="328" y="198"/>
                    <a:pt x="342" y="184"/>
                    <a:pt x="342" y="166"/>
                  </a:cubicBezTo>
                  <a:cubicBezTo>
                    <a:pt x="342" y="159"/>
                    <a:pt x="339" y="153"/>
                    <a:pt x="335" y="147"/>
                  </a:cubicBezTo>
                  <a:moveTo>
                    <a:pt x="136" y="9"/>
                  </a:moveTo>
                  <a:cubicBezTo>
                    <a:pt x="146" y="9"/>
                    <a:pt x="146" y="9"/>
                    <a:pt x="146" y="9"/>
                  </a:cubicBezTo>
                  <a:cubicBezTo>
                    <a:pt x="225" y="108"/>
                    <a:pt x="225" y="108"/>
                    <a:pt x="225" y="108"/>
                  </a:cubicBezTo>
                  <a:cubicBezTo>
                    <a:pt x="156" y="108"/>
                    <a:pt x="156" y="108"/>
                    <a:pt x="156" y="108"/>
                  </a:cubicBezTo>
                  <a:lnTo>
                    <a:pt x="136" y="9"/>
                  </a:lnTo>
                  <a:close/>
                  <a:moveTo>
                    <a:pt x="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58" y="108"/>
                    <a:pt x="58" y="108"/>
                    <a:pt x="58" y="108"/>
                  </a:cubicBezTo>
                  <a:cubicBezTo>
                    <a:pt x="9" y="108"/>
                    <a:pt x="9" y="108"/>
                    <a:pt x="9" y="108"/>
                  </a:cubicBezTo>
                  <a:lnTo>
                    <a:pt x="9" y="72"/>
                  </a:lnTo>
                  <a:close/>
                  <a:moveTo>
                    <a:pt x="146" y="297"/>
                  </a:moveTo>
                  <a:cubicBezTo>
                    <a:pt x="136" y="297"/>
                    <a:pt x="136" y="297"/>
                    <a:pt x="136" y="297"/>
                  </a:cubicBezTo>
                  <a:cubicBezTo>
                    <a:pt x="156" y="198"/>
                    <a:pt x="156" y="198"/>
                    <a:pt x="156" y="198"/>
                  </a:cubicBezTo>
                  <a:cubicBezTo>
                    <a:pt x="225" y="198"/>
                    <a:pt x="225" y="198"/>
                    <a:pt x="225" y="198"/>
                  </a:cubicBezTo>
                  <a:lnTo>
                    <a:pt x="146" y="297"/>
                  </a:lnTo>
                  <a:close/>
                  <a:moveTo>
                    <a:pt x="310" y="189"/>
                  </a:moveTo>
                  <a:cubicBezTo>
                    <a:pt x="60" y="189"/>
                    <a:pt x="60" y="189"/>
                    <a:pt x="60" y="189"/>
                  </a:cubicBezTo>
                  <a:cubicBezTo>
                    <a:pt x="54" y="189"/>
                    <a:pt x="47" y="186"/>
                    <a:pt x="43" y="180"/>
                  </a:cubicBezTo>
                  <a:cubicBezTo>
                    <a:pt x="14" y="144"/>
                    <a:pt x="14" y="144"/>
                    <a:pt x="14" y="144"/>
                  </a:cubicBezTo>
                  <a:cubicBezTo>
                    <a:pt x="10" y="140"/>
                    <a:pt x="9" y="135"/>
                    <a:pt x="9" y="130"/>
                  </a:cubicBezTo>
                  <a:cubicBezTo>
                    <a:pt x="9" y="117"/>
                    <a:pt x="9" y="117"/>
                    <a:pt x="9" y="117"/>
                  </a:cubicBezTo>
                  <a:cubicBezTo>
                    <a:pt x="67" y="117"/>
                    <a:pt x="67" y="117"/>
                    <a:pt x="67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95" y="117"/>
                    <a:pt x="302" y="120"/>
                    <a:pt x="306" y="125"/>
                  </a:cubicBezTo>
                  <a:cubicBezTo>
                    <a:pt x="321" y="144"/>
                    <a:pt x="321" y="144"/>
                    <a:pt x="321" y="144"/>
                  </a:cubicBezTo>
                  <a:cubicBezTo>
                    <a:pt x="261" y="144"/>
                    <a:pt x="261" y="144"/>
                    <a:pt x="261" y="144"/>
                  </a:cubicBezTo>
                  <a:cubicBezTo>
                    <a:pt x="261" y="153"/>
                    <a:pt x="261" y="153"/>
                    <a:pt x="261" y="153"/>
                  </a:cubicBezTo>
                  <a:cubicBezTo>
                    <a:pt x="328" y="153"/>
                    <a:pt x="328" y="153"/>
                    <a:pt x="328" y="153"/>
                  </a:cubicBezTo>
                  <a:cubicBezTo>
                    <a:pt x="328" y="153"/>
                    <a:pt x="328" y="153"/>
                    <a:pt x="328" y="153"/>
                  </a:cubicBezTo>
                  <a:cubicBezTo>
                    <a:pt x="331" y="157"/>
                    <a:pt x="333" y="161"/>
                    <a:pt x="333" y="166"/>
                  </a:cubicBezTo>
                  <a:cubicBezTo>
                    <a:pt x="333" y="179"/>
                    <a:pt x="323" y="189"/>
                    <a:pt x="310" y="189"/>
                  </a:cubicBezTo>
                </a:path>
              </a:pathLst>
            </a:custGeom>
            <a:solidFill>
              <a:srgbClr val="0024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Maersk Text Office"/>
                <a:ea typeface="+mn-ea"/>
                <a:cs typeface="+mn-cs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61718F8-1B86-412D-9143-5DBF8649ACE6}"/>
                </a:ext>
              </a:extLst>
            </p:cNvPr>
            <p:cNvGrpSpPr/>
            <p:nvPr/>
          </p:nvGrpSpPr>
          <p:grpSpPr>
            <a:xfrm>
              <a:off x="4989774" y="1748949"/>
              <a:ext cx="137216" cy="184383"/>
              <a:chOff x="5253849" y="4118865"/>
              <a:chExt cx="176721" cy="237468"/>
            </a:xfrm>
          </p:grpSpPr>
          <p:sp>
            <p:nvSpPr>
              <p:cNvPr id="32" name="Freeform 311">
                <a:extLst>
                  <a:ext uri="{FF2B5EF4-FFF2-40B4-BE49-F238E27FC236}">
                    <a16:creationId xmlns:a16="http://schemas.microsoft.com/office/drawing/2014/main" id="{8D6A5046-4F5E-431B-B3A5-DD5BEAD5DA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3849" y="4118865"/>
                <a:ext cx="176721" cy="237468"/>
              </a:xfrm>
              <a:custGeom>
                <a:avLst/>
                <a:gdLst>
                  <a:gd name="T0" fmla="*/ 109 w 109"/>
                  <a:gd name="T1" fmla="*/ 41 h 146"/>
                  <a:gd name="T2" fmla="*/ 109 w 109"/>
                  <a:gd name="T3" fmla="*/ 40 h 146"/>
                  <a:gd name="T4" fmla="*/ 108 w 109"/>
                  <a:gd name="T5" fmla="*/ 38 h 146"/>
                  <a:gd name="T6" fmla="*/ 71 w 109"/>
                  <a:gd name="T7" fmla="*/ 2 h 146"/>
                  <a:gd name="T8" fmla="*/ 69 w 109"/>
                  <a:gd name="T9" fmla="*/ 1 h 146"/>
                  <a:gd name="T10" fmla="*/ 69 w 109"/>
                  <a:gd name="T11" fmla="*/ 1 h 146"/>
                  <a:gd name="T12" fmla="*/ 68 w 109"/>
                  <a:gd name="T13" fmla="*/ 0 h 146"/>
                  <a:gd name="T14" fmla="*/ 9 w 109"/>
                  <a:gd name="T15" fmla="*/ 0 h 146"/>
                  <a:gd name="T16" fmla="*/ 0 w 109"/>
                  <a:gd name="T17" fmla="*/ 10 h 146"/>
                  <a:gd name="T18" fmla="*/ 0 w 109"/>
                  <a:gd name="T19" fmla="*/ 137 h 146"/>
                  <a:gd name="T20" fmla="*/ 9 w 109"/>
                  <a:gd name="T21" fmla="*/ 146 h 146"/>
                  <a:gd name="T22" fmla="*/ 100 w 109"/>
                  <a:gd name="T23" fmla="*/ 146 h 146"/>
                  <a:gd name="T24" fmla="*/ 109 w 109"/>
                  <a:gd name="T25" fmla="*/ 137 h 146"/>
                  <a:gd name="T26" fmla="*/ 109 w 109"/>
                  <a:gd name="T27" fmla="*/ 41 h 146"/>
                  <a:gd name="T28" fmla="*/ 109 w 109"/>
                  <a:gd name="T29" fmla="*/ 41 h 146"/>
                  <a:gd name="T30" fmla="*/ 94 w 109"/>
                  <a:gd name="T31" fmla="*/ 37 h 146"/>
                  <a:gd name="T32" fmla="*/ 73 w 109"/>
                  <a:gd name="T33" fmla="*/ 37 h 146"/>
                  <a:gd name="T34" fmla="*/ 73 w 109"/>
                  <a:gd name="T35" fmla="*/ 16 h 146"/>
                  <a:gd name="T36" fmla="*/ 94 w 109"/>
                  <a:gd name="T37" fmla="*/ 37 h 146"/>
                  <a:gd name="T38" fmla="*/ 9 w 109"/>
                  <a:gd name="T39" fmla="*/ 137 h 146"/>
                  <a:gd name="T40" fmla="*/ 9 w 109"/>
                  <a:gd name="T41" fmla="*/ 10 h 146"/>
                  <a:gd name="T42" fmla="*/ 9 w 109"/>
                  <a:gd name="T43" fmla="*/ 10 h 146"/>
                  <a:gd name="T44" fmla="*/ 9 w 109"/>
                  <a:gd name="T45" fmla="*/ 5 h 146"/>
                  <a:gd name="T46" fmla="*/ 9 w 109"/>
                  <a:gd name="T47" fmla="*/ 10 h 146"/>
                  <a:gd name="T48" fmla="*/ 64 w 109"/>
                  <a:gd name="T49" fmla="*/ 10 h 146"/>
                  <a:gd name="T50" fmla="*/ 64 w 109"/>
                  <a:gd name="T51" fmla="*/ 41 h 146"/>
                  <a:gd name="T52" fmla="*/ 68 w 109"/>
                  <a:gd name="T53" fmla="*/ 46 h 146"/>
                  <a:gd name="T54" fmla="*/ 100 w 109"/>
                  <a:gd name="T55" fmla="*/ 46 h 146"/>
                  <a:gd name="T56" fmla="*/ 100 w 109"/>
                  <a:gd name="T57" fmla="*/ 137 h 146"/>
                  <a:gd name="T58" fmla="*/ 9 w 109"/>
                  <a:gd name="T59" fmla="*/ 137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9" h="146">
                    <a:moveTo>
                      <a:pt x="109" y="41"/>
                    </a:moveTo>
                    <a:cubicBezTo>
                      <a:pt x="109" y="41"/>
                      <a:pt x="109" y="40"/>
                      <a:pt x="109" y="40"/>
                    </a:cubicBezTo>
                    <a:cubicBezTo>
                      <a:pt x="109" y="40"/>
                      <a:pt x="108" y="39"/>
                      <a:pt x="108" y="38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1"/>
                      <a:pt x="70" y="1"/>
                      <a:pt x="69" y="1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9" y="0"/>
                      <a:pt x="68" y="0"/>
                      <a:pt x="6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0" y="142"/>
                      <a:pt x="4" y="146"/>
                      <a:pt x="9" y="146"/>
                    </a:cubicBezTo>
                    <a:cubicBezTo>
                      <a:pt x="100" y="146"/>
                      <a:pt x="100" y="146"/>
                      <a:pt x="100" y="146"/>
                    </a:cubicBezTo>
                    <a:cubicBezTo>
                      <a:pt x="105" y="146"/>
                      <a:pt x="109" y="142"/>
                      <a:pt x="109" y="137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9" y="41"/>
                      <a:pt x="109" y="41"/>
                      <a:pt x="109" y="41"/>
                    </a:cubicBezTo>
                    <a:moveTo>
                      <a:pt x="94" y="37"/>
                    </a:moveTo>
                    <a:cubicBezTo>
                      <a:pt x="73" y="37"/>
                      <a:pt x="73" y="37"/>
                      <a:pt x="73" y="37"/>
                    </a:cubicBezTo>
                    <a:cubicBezTo>
                      <a:pt x="73" y="16"/>
                      <a:pt x="73" y="16"/>
                      <a:pt x="73" y="16"/>
                    </a:cubicBezTo>
                    <a:lnTo>
                      <a:pt x="94" y="37"/>
                    </a:lnTo>
                    <a:close/>
                    <a:moveTo>
                      <a:pt x="9" y="137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4"/>
                      <a:pt x="66" y="46"/>
                      <a:pt x="68" y="46"/>
                    </a:cubicBezTo>
                    <a:cubicBezTo>
                      <a:pt x="100" y="46"/>
                      <a:pt x="100" y="46"/>
                      <a:pt x="100" y="46"/>
                    </a:cubicBezTo>
                    <a:cubicBezTo>
                      <a:pt x="100" y="137"/>
                      <a:pt x="100" y="137"/>
                      <a:pt x="100" y="137"/>
                    </a:cubicBezTo>
                    <a:lnTo>
                      <a:pt x="9" y="137"/>
                    </a:lnTo>
                    <a:close/>
                  </a:path>
                </a:pathLst>
              </a:cu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33" name="Rectangle 312">
                <a:extLst>
                  <a:ext uri="{FF2B5EF4-FFF2-40B4-BE49-F238E27FC236}">
                    <a16:creationId xmlns:a16="http://schemas.microsoft.com/office/drawing/2014/main" id="{6FC332DF-7019-41C9-A758-D1BD90323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8029" y="4281780"/>
                <a:ext cx="88360" cy="16568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34" name="Rectangle 313">
                <a:extLst>
                  <a:ext uri="{FF2B5EF4-FFF2-40B4-BE49-F238E27FC236}">
                    <a16:creationId xmlns:a16="http://schemas.microsoft.com/office/drawing/2014/main" id="{FE98AF49-A004-472C-A430-B08F9DF04D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8029" y="4237600"/>
                <a:ext cx="88360" cy="1380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  <p:sp>
            <p:nvSpPr>
              <p:cNvPr id="35" name="Rectangle 314">
                <a:extLst>
                  <a:ext uri="{FF2B5EF4-FFF2-40B4-BE49-F238E27FC236}">
                    <a16:creationId xmlns:a16="http://schemas.microsoft.com/office/drawing/2014/main" id="{7BB42890-9E14-4DF2-8394-4D1A3C42B2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8029" y="4179613"/>
                <a:ext cx="30374" cy="13806"/>
              </a:xfrm>
              <a:prstGeom prst="rect">
                <a:avLst/>
              </a:prstGeom>
              <a:solidFill>
                <a:srgbClr val="002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Maersk Text Office"/>
                  <a:ea typeface="+mn-ea"/>
                  <a:cs typeface="+mn-cs"/>
                </a:endParaRPr>
              </a:p>
            </p:txBody>
          </p:sp>
        </p:grp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6E53AE62-23F8-4CE1-9FBA-D59BFAA7C3E0}"/>
              </a:ext>
            </a:extLst>
          </p:cNvPr>
          <p:cNvSpPr txBox="1"/>
          <p:nvPr/>
        </p:nvSpPr>
        <p:spPr>
          <a:xfrm>
            <a:off x="112767" y="2385368"/>
            <a:ext cx="3960948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u="sng" dirty="0">
                <a:effectLst/>
                <a:ea typeface="Times New Roman" panose="02020603050405020304" pitchFamily="18" charset="0"/>
              </a:rPr>
              <a:t>Landside Activities :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 Manufacturing, Packaging,  </a:t>
            </a:r>
            <a:r>
              <a:rPr lang="en-IN" sz="1400" dirty="0">
                <a:ea typeface="Times New Roman" panose="02020603050405020304" pitchFamily="18" charset="0"/>
              </a:rPr>
              <a:t>La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belling, Stuffing, loading,  Stowing, Declaring, C</a:t>
            </a:r>
            <a:r>
              <a:rPr lang="en-IN" sz="1400" dirty="0">
                <a:ea typeface="Times New Roman" panose="02020603050405020304" pitchFamily="18" charset="0"/>
              </a:rPr>
              <a:t>omplying 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Custom and clearing formalities </a:t>
            </a:r>
            <a:r>
              <a:rPr lang="en-IN" sz="1400" dirty="0">
                <a:ea typeface="Times New Roman" panose="02020603050405020304" pitchFamily="18" charset="0"/>
              </a:rPr>
              <a:t>(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export)..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IN" sz="1400" dirty="0">
              <a:ea typeface="Times New Roman" panose="02020603050405020304" pitchFamily="18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u="sng" dirty="0">
                <a:ea typeface="Times New Roman" panose="02020603050405020304" pitchFamily="18" charset="0"/>
              </a:rPr>
              <a:t>Certain Risks: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manufacturing defect (inherent),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low/wrong quality of the packaging,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wrong/inadequate stowage,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ffectLst/>
                <a:ea typeface="Times New Roman" panose="02020603050405020304" pitchFamily="18" charset="0"/>
              </a:rPr>
              <a:t>mis-declarations,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ffectLst/>
                <a:ea typeface="Times New Roman" panose="02020603050405020304" pitchFamily="18" charset="0"/>
              </a:rPr>
              <a:t>wrong labelling/consolidation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use of equipment with pre-existing damage, trucking,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ffectLst/>
                <a:ea typeface="Times New Roman" panose="02020603050405020304" pitchFamily="18" charset="0"/>
              </a:rPr>
              <a:t>pressure to optimise on the cost,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unclear 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terms under sale contract V transportation legs being performed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ffectLst/>
                <a:ea typeface="Times New Roman" panose="02020603050405020304" pitchFamily="18" charset="0"/>
              </a:rPr>
              <a:t>inadequate insurance, </a:t>
            </a:r>
            <a:r>
              <a:rPr lang="en-IN" sz="1400" i="1" dirty="0">
                <a:effectLst/>
                <a:ea typeface="Times New Roman" panose="02020603050405020304" pitchFamily="18" charset="0"/>
              </a:rPr>
              <a:t>Et al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IN" sz="1400" u="sng" dirty="0">
              <a:solidFill>
                <a:srgbClr val="0000FF"/>
              </a:solidFill>
              <a:latin typeface="Maersk Headline Office" panose="00000500000000000000" pitchFamily="2" charset="0"/>
              <a:ea typeface="Times New Roman" panose="02020603050405020304" pitchFamily="18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2066BED-B7FF-4474-AA2F-10A78379A16D}"/>
              </a:ext>
            </a:extLst>
          </p:cNvPr>
          <p:cNvSpPr/>
          <p:nvPr/>
        </p:nvSpPr>
        <p:spPr>
          <a:xfrm>
            <a:off x="512113" y="2093047"/>
            <a:ext cx="4151917" cy="268634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ersk Text Office"/>
                <a:ea typeface="+mn-ea"/>
                <a:cs typeface="+mn-cs"/>
              </a:rPr>
              <a:t>Origin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D9A86F4B-3DE0-46C1-A999-63D6A2487E50}"/>
              </a:ext>
            </a:extLst>
          </p:cNvPr>
          <p:cNvSpPr/>
          <p:nvPr/>
        </p:nvSpPr>
        <p:spPr>
          <a:xfrm>
            <a:off x="4771674" y="2101856"/>
            <a:ext cx="2938822" cy="283511"/>
          </a:xfrm>
          <a:prstGeom prst="rect">
            <a:avLst/>
          </a:prstGeom>
          <a:solidFill>
            <a:srgbClr val="0073A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ersk Text Office"/>
                <a:ea typeface="+mn-ea"/>
                <a:cs typeface="+mn-cs"/>
              </a:rPr>
              <a:t>Transport/Transit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5BA3F3A-5CF5-4405-A75E-3F79D52A090C}"/>
              </a:ext>
            </a:extLst>
          </p:cNvPr>
          <p:cNvSpPr/>
          <p:nvPr/>
        </p:nvSpPr>
        <p:spPr>
          <a:xfrm>
            <a:off x="7792509" y="2118500"/>
            <a:ext cx="3898411" cy="263754"/>
          </a:xfrm>
          <a:prstGeom prst="rect">
            <a:avLst/>
          </a:prstGeom>
          <a:solidFill>
            <a:srgbClr val="B5E0F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Maersk Text Office"/>
                <a:ea typeface="+mn-ea"/>
                <a:cs typeface="+mn-cs"/>
              </a:rPr>
              <a:t>Destination</a:t>
            </a:r>
            <a:endParaRPr kumimoji="0" lang="en-US" sz="1150" b="0" i="0" u="none" strike="noStrike" kern="0" cap="none" spc="0" normalizeH="0" baseline="0" noProof="0" dirty="0">
              <a:ln>
                <a:noFill/>
              </a:ln>
              <a:solidFill>
                <a:srgbClr val="141414"/>
              </a:solidFill>
              <a:effectLst/>
              <a:uLnTx/>
              <a:uFillTx/>
              <a:latin typeface="Maersk Text Office"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E0F90B65-F25D-4E4E-B869-AE336BF74BBB}"/>
              </a:ext>
            </a:extLst>
          </p:cNvPr>
          <p:cNvSpPr txBox="1"/>
          <p:nvPr/>
        </p:nvSpPr>
        <p:spPr>
          <a:xfrm>
            <a:off x="7664869" y="2581058"/>
            <a:ext cx="3960948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u="sng" dirty="0">
                <a:effectLst/>
                <a:ea typeface="Times New Roman" panose="02020603050405020304" pitchFamily="18" charset="0"/>
              </a:rPr>
              <a:t>Landside Activities : 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Manufacturing, Packaging,  </a:t>
            </a:r>
            <a:r>
              <a:rPr lang="en-IN" sz="1400" dirty="0">
                <a:ea typeface="Times New Roman" panose="02020603050405020304" pitchFamily="18" charset="0"/>
              </a:rPr>
              <a:t>La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belling, Stuffing, loading,  Stowing, Declaring, C</a:t>
            </a:r>
            <a:r>
              <a:rPr lang="en-IN" sz="1400" dirty="0">
                <a:ea typeface="Times New Roman" panose="02020603050405020304" pitchFamily="18" charset="0"/>
              </a:rPr>
              <a:t>omplying 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Custom and clearing formalities </a:t>
            </a:r>
            <a:r>
              <a:rPr lang="en-IN" sz="1400" dirty="0">
                <a:ea typeface="Times New Roman" panose="02020603050405020304" pitchFamily="18" charset="0"/>
              </a:rPr>
              <a:t>(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import)..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IN" sz="1400" dirty="0">
              <a:ea typeface="Times New Roman" panose="02020603050405020304" pitchFamily="18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u="sng" dirty="0">
                <a:ea typeface="Times New Roman" panose="02020603050405020304" pitchFamily="18" charset="0"/>
              </a:rPr>
              <a:t>Certain Risks: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Some of them already existing at Origin and/or picked up during Transit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Trucking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ffectLst/>
                <a:ea typeface="Times New Roman" panose="02020603050405020304" pitchFamily="18" charset="0"/>
              </a:rPr>
              <a:t>Storage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Delay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i="1" dirty="0">
                <a:effectLst/>
                <a:ea typeface="Times New Roman" panose="02020603050405020304" pitchFamily="18" charset="0"/>
              </a:rPr>
              <a:t>Et al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IN" sz="1400" u="sng" dirty="0">
              <a:solidFill>
                <a:srgbClr val="0000FF"/>
              </a:solidFill>
              <a:latin typeface="Maersk Headline Office" panose="00000500000000000000" pitchFamily="2" charset="0"/>
              <a:ea typeface="Times New Roman" panose="02020603050405020304" pitchFamily="18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CE7F9CE3-BB32-4570-B4BA-5875B72FF791}"/>
              </a:ext>
            </a:extLst>
          </p:cNvPr>
          <p:cNvSpPr txBox="1"/>
          <p:nvPr/>
        </p:nvSpPr>
        <p:spPr>
          <a:xfrm>
            <a:off x="4292906" y="2510324"/>
            <a:ext cx="3676649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u="sng" dirty="0">
                <a:effectLst/>
                <a:ea typeface="Times New Roman" panose="02020603050405020304" pitchFamily="18" charset="0"/>
              </a:rPr>
              <a:t>Activities :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 Ocean/Air/Rail/Road transit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b="1" u="sng" dirty="0">
                <a:ea typeface="Times New Roman" panose="02020603050405020304" pitchFamily="18" charset="0"/>
              </a:rPr>
              <a:t>Objectives</a:t>
            </a:r>
            <a:r>
              <a:rPr lang="en-IN" sz="1400" b="1" dirty="0">
                <a:ea typeface="Times New Roman" panose="02020603050405020304" pitchFamily="18" charset="0"/>
              </a:rPr>
              <a:t>: Remain competitive, reliable and profi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IN" sz="1400" dirty="0">
              <a:effectLst/>
              <a:ea typeface="Times New Roman" panose="02020603050405020304" pitchFamily="18" charset="0"/>
            </a:endParaRPr>
          </a:p>
          <a:p>
            <a:pPr lvl="1"/>
            <a:endParaRPr lang="en-IN" sz="1400" dirty="0">
              <a:ea typeface="Times New Roman" panose="02020603050405020304" pitchFamily="18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u="sng" dirty="0">
                <a:ea typeface="Times New Roman" panose="02020603050405020304" pitchFamily="18" charset="0"/>
              </a:rPr>
              <a:t>Certain Risks: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Fir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Grounding/Stranding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Collision/Contacts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Machinery breakdow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Heavy Weather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Accidents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 err="1">
                <a:ea typeface="Times New Roman" panose="02020603050405020304" pitchFamily="18" charset="0"/>
              </a:rPr>
              <a:t>Capesizing</a:t>
            </a:r>
            <a:r>
              <a:rPr lang="en-IN" sz="1400" dirty="0">
                <a:ea typeface="Times New Roman" panose="02020603050405020304" pitchFamily="18" charset="0"/>
              </a:rPr>
              <a:t> /Sinking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Falling objects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Loading/discharging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dirty="0">
                <a:ea typeface="Times New Roman" panose="02020603050405020304" pitchFamily="18" charset="0"/>
              </a:rPr>
              <a:t>Fines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IN" sz="1400" i="1" dirty="0">
                <a:effectLst/>
                <a:ea typeface="Times New Roman" panose="02020603050405020304" pitchFamily="18" charset="0"/>
              </a:rPr>
              <a:t>Et al</a:t>
            </a:r>
            <a:r>
              <a:rPr lang="en-IN" sz="1400" dirty="0">
                <a:effectLst/>
                <a:ea typeface="Times New Roman" panose="02020603050405020304" pitchFamily="18" charset="0"/>
              </a:rPr>
              <a:t>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IN" sz="1400" u="sng" dirty="0">
              <a:solidFill>
                <a:srgbClr val="0000FF"/>
              </a:solidFill>
              <a:latin typeface="Maersk Headline Office" panose="00000500000000000000" pitchFamily="2" charset="0"/>
              <a:ea typeface="Times New Roman" panose="02020603050405020304" pitchFamily="18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D137E96-4E8D-4C45-8EEF-56A1261A13DD}"/>
              </a:ext>
            </a:extLst>
          </p:cNvPr>
          <p:cNvSpPr/>
          <p:nvPr/>
        </p:nvSpPr>
        <p:spPr>
          <a:xfrm>
            <a:off x="4396794" y="866274"/>
            <a:ext cx="3536811" cy="59917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37600" tIns="237600" rIns="237600" bIns="237600" rtlCol="0" anchor="ctr"/>
          <a:lstStyle/>
          <a:p>
            <a:pPr algn="ctr"/>
            <a:endParaRPr lang="en-IN" sz="2000" b="1" noProof="0" dirty="0" err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EA5B1A-5B31-4ECE-8B25-CEC1E04DB446}"/>
              </a:ext>
            </a:extLst>
          </p:cNvPr>
          <p:cNvSpPr txBox="1"/>
          <p:nvPr/>
        </p:nvSpPr>
        <p:spPr>
          <a:xfrm>
            <a:off x="8229600" y="117566"/>
            <a:ext cx="3478729" cy="972283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algn="l"/>
            <a:r>
              <a:rPr lang="en-IN" sz="1600" dirty="0">
                <a:solidFill>
                  <a:srgbClr val="FF0000"/>
                </a:solidFill>
              </a:rPr>
              <a:t>Active risk management in real time basis </a:t>
            </a:r>
            <a:r>
              <a:rPr lang="en-IN" sz="1600">
                <a:solidFill>
                  <a:srgbClr val="FF0000"/>
                </a:solidFill>
              </a:rPr>
              <a:t>(dynamic) </a:t>
            </a:r>
            <a:endParaRPr lang="en-IN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037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507446-93F1-4663-9199-8EBD51F67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isk Management: Responsibilities &amp; Complexities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B0BD2A-6CCD-43F2-9354-EDADAA3D09F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0062" y="1204954"/>
            <a:ext cx="11047503" cy="5259093"/>
          </a:xfrm>
        </p:spPr>
        <p:txBody>
          <a:bodyPr/>
          <a:lstStyle/>
          <a:p>
            <a:r>
              <a:rPr lang="en-IN" sz="2000" dirty="0"/>
              <a:t>Underwriting: Insurance Contracts, Re-insurance, Captive, Premiums, risk modelling, risk advisories, quotations </a:t>
            </a:r>
          </a:p>
          <a:p>
            <a:endParaRPr lang="en-IN" sz="2000" dirty="0"/>
          </a:p>
          <a:p>
            <a:r>
              <a:rPr lang="en-IN" sz="2000" dirty="0"/>
              <a:t>Declarations: Valuations, War risk, material changes, etc. to ensure no warranties are breached. </a:t>
            </a:r>
          </a:p>
          <a:p>
            <a:endParaRPr lang="en-IN" sz="2000" dirty="0"/>
          </a:p>
          <a:p>
            <a:r>
              <a:rPr lang="en-IN" sz="2000" dirty="0"/>
              <a:t>Policy Documentation: timely issuance of documentations.</a:t>
            </a:r>
          </a:p>
          <a:p>
            <a:endParaRPr lang="en-IN" sz="2000" dirty="0"/>
          </a:p>
          <a:p>
            <a:r>
              <a:rPr lang="en-IN" sz="2000" dirty="0"/>
              <a:t>Communications: Brokers, Insurers, Finance, internal stakeholders </a:t>
            </a:r>
          </a:p>
          <a:p>
            <a:endParaRPr lang="en-IN" sz="2000" dirty="0"/>
          </a:p>
          <a:p>
            <a:r>
              <a:rPr lang="en-IN" sz="2000" dirty="0"/>
              <a:t>Claims Management: Incident handling, Assessing liabilities and ascertaining losses, settlements &amp; recovery. </a:t>
            </a:r>
          </a:p>
          <a:p>
            <a:endParaRPr lang="en-IN" sz="2000" dirty="0"/>
          </a:p>
          <a:p>
            <a:r>
              <a:rPr lang="en-IN" sz="2000" dirty="0"/>
              <a:t>Claims Documentation: Survey reports, adjustment report, claim statements and supporting voucher</a:t>
            </a:r>
          </a:p>
          <a:p>
            <a:pPr marL="0" indent="0">
              <a:buNone/>
            </a:pPr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pPr marL="0" indent="0">
              <a:buNone/>
            </a:pPr>
            <a:r>
              <a:rPr lang="en-IN" sz="2000" dirty="0"/>
              <a:t> 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DBCA14-D2B9-44D1-BBA6-107A677C17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1EF418-8105-4689-A8AF-53E3ECA704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A5FD8D0-6020-4E5E-BCB9-1136FD44E58F}"/>
              </a:ext>
            </a:extLst>
          </p:cNvPr>
          <p:cNvSpPr txBox="1">
            <a:spLocks/>
          </p:cNvSpPr>
          <p:nvPr/>
        </p:nvSpPr>
        <p:spPr>
          <a:xfrm>
            <a:off x="6306641" y="1204955"/>
            <a:ext cx="5382122" cy="54364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350" i="1" kern="1200">
                <a:solidFill>
                  <a:schemeClr val="tx1"/>
                </a:solidFill>
                <a:latin typeface="Maersk Headline Office" panose="00000500000000000000" pitchFamily="2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15996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507446-93F1-4663-9199-8EBD51F67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Possible Solutions leveraging Technology!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B0BD2A-6CCD-43F2-9354-EDADAA3D09F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0063" y="1204955"/>
            <a:ext cx="10825434" cy="2086886"/>
          </a:xfrm>
        </p:spPr>
        <p:txBody>
          <a:bodyPr/>
          <a:lstStyle/>
          <a:p>
            <a:r>
              <a:rPr lang="en-IN" sz="2000" b="1" u="sng" dirty="0"/>
              <a:t>POSSIBLE SOLUTIONS: </a:t>
            </a:r>
          </a:p>
          <a:p>
            <a:r>
              <a:rPr lang="en-IN" sz="2000" dirty="0"/>
              <a:t>Leverage technology - INSURWAVE (SaaS) platform (blockchain) </a:t>
            </a:r>
          </a:p>
          <a:p>
            <a:r>
              <a:rPr lang="en-IN" sz="2000" b="1" dirty="0"/>
              <a:t>Connects</a:t>
            </a:r>
            <a:r>
              <a:rPr lang="en-IN" sz="2000" dirty="0"/>
              <a:t> insurance buyers, brokers and sellers to transform the way </a:t>
            </a:r>
            <a:r>
              <a:rPr lang="en-IN" sz="2000" b="1" dirty="0"/>
              <a:t>specialty insurance and reinsurance </a:t>
            </a:r>
            <a:r>
              <a:rPr lang="en-IN" sz="2000" dirty="0"/>
              <a:t>is transacted </a:t>
            </a:r>
          </a:p>
          <a:p>
            <a:pPr marL="0" indent="0">
              <a:buNone/>
            </a:pPr>
            <a:r>
              <a:rPr lang="en-IN" sz="2000" dirty="0">
                <a:hlinkClick r:id="rId3"/>
              </a:rPr>
              <a:t>https://youtu.be/sENBQSB1kaE</a:t>
            </a:r>
            <a:r>
              <a:rPr lang="en-IN" sz="2000" dirty="0"/>
              <a:t> </a:t>
            </a:r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pPr marL="0" indent="0">
              <a:buNone/>
            </a:pPr>
            <a:r>
              <a:rPr lang="en-IN" sz="2000" dirty="0"/>
              <a:t> 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DBCA14-D2B9-44D1-BBA6-107A677C17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1EF418-8105-4689-A8AF-53E3ECA704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A5FD8D0-6020-4E5E-BCB9-1136FD44E58F}"/>
              </a:ext>
            </a:extLst>
          </p:cNvPr>
          <p:cNvSpPr txBox="1">
            <a:spLocks/>
          </p:cNvSpPr>
          <p:nvPr/>
        </p:nvSpPr>
        <p:spPr>
          <a:xfrm>
            <a:off x="6306641" y="1204955"/>
            <a:ext cx="5382122" cy="54364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350" i="1" kern="1200">
                <a:solidFill>
                  <a:schemeClr val="tx1"/>
                </a:solidFill>
                <a:latin typeface="Maersk Headline Office" panose="00000500000000000000" pitchFamily="2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3C937D2-F696-4E3B-81A1-AED26E6FC92C}"/>
              </a:ext>
            </a:extLst>
          </p:cNvPr>
          <p:cNvSpPr txBox="1">
            <a:spLocks/>
          </p:cNvSpPr>
          <p:nvPr/>
        </p:nvSpPr>
        <p:spPr>
          <a:xfrm>
            <a:off x="500063" y="3566159"/>
            <a:ext cx="10825434" cy="2086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350" i="1" kern="1200">
                <a:solidFill>
                  <a:schemeClr val="tx1"/>
                </a:solidFill>
                <a:latin typeface="Maersk Headline Office" panose="00000500000000000000" pitchFamily="2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IN" sz="2000" u="sng" dirty="0"/>
              <a:t>KEY BENFITS:</a:t>
            </a:r>
          </a:p>
          <a:p>
            <a:r>
              <a:rPr lang="en-IN" sz="2000" dirty="0"/>
              <a:t>Reduction of Risk Management Costs: optimise transactional and administrative burden</a:t>
            </a:r>
          </a:p>
          <a:p>
            <a:r>
              <a:rPr lang="en-IN" sz="2000" dirty="0"/>
              <a:t>Insight &amp; Decision Making: ability to monitor and alter key risk events on real time basis </a:t>
            </a:r>
          </a:p>
          <a:p>
            <a:r>
              <a:rPr lang="en-IN" sz="2000" dirty="0"/>
              <a:t>Captive Optimisation: effective insurance contract administration and reduced reconciliation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IN" sz="2000" dirty="0">
                <a:hlinkClick r:id="rId4"/>
              </a:rPr>
              <a:t>https://youtu.be/fw1SWgs1SS0</a:t>
            </a:r>
            <a:r>
              <a:rPr lang="en-IN" sz="2000" dirty="0"/>
              <a:t> </a:t>
            </a:r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IN" sz="2000" dirty="0"/>
              <a:t>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236572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AB3619-C314-4BAD-8835-6C39B1E79D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E78699-53FE-432C-81D7-A0957AE704B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8197380-C7C4-4AD0-88E9-83AD6B163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sz="2800" b="1" dirty="0">
                <a:solidFill>
                  <a:srgbClr val="454545"/>
                </a:solidFill>
                <a:latin typeface="Oxygen" panose="02000503000000000000" pitchFamily="2" charset="0"/>
              </a:rPr>
              <a:t>THANK YOU and BE PREPARED!</a:t>
            </a:r>
            <a:br>
              <a:rPr lang="en-IN" sz="2800" dirty="0"/>
            </a:br>
            <a:endParaRPr lang="en-IN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721129-7DCB-4C2C-B0BA-F41733712905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4803" y="1890964"/>
            <a:ext cx="5799220" cy="438765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454017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va093\AppData\Local\Temp\Templafy\PowerPointVsto\Assets\our-Solutions.s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5585858074495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vwfgNWUKHmVKPvpc7jA"/>
</p:tagLst>
</file>

<file path=ppt/theme/theme1.xml><?xml version="1.0" encoding="utf-8"?>
<a:theme xmlns:a="http://schemas.openxmlformats.org/drawingml/2006/main" name="Mærsk">
  <a:themeElements>
    <a:clrScheme name="Maersk">
      <a:dk1>
        <a:srgbClr val="141414"/>
      </a:dk1>
      <a:lt1>
        <a:srgbClr val="FFFFFF"/>
      </a:lt1>
      <a:dk2>
        <a:srgbClr val="545454"/>
      </a:dk2>
      <a:lt2>
        <a:srgbClr val="EDEDED"/>
      </a:lt2>
      <a:accent1>
        <a:srgbClr val="42B0D5"/>
      </a:accent1>
      <a:accent2>
        <a:srgbClr val="00243D"/>
      </a:accent2>
      <a:accent3>
        <a:srgbClr val="CFCFCF"/>
      </a:accent3>
      <a:accent4>
        <a:srgbClr val="ED685F"/>
      </a:accent4>
      <a:accent5>
        <a:srgbClr val="00796B"/>
      </a:accent5>
      <a:accent6>
        <a:srgbClr val="F59F19"/>
      </a:accent6>
      <a:hlink>
        <a:srgbClr val="0000FF"/>
      </a:hlink>
      <a:folHlink>
        <a:srgbClr val="800080"/>
      </a:folHlink>
    </a:clrScheme>
    <a:fontScheme name="Maersk">
      <a:majorFont>
        <a:latin typeface="Maersk Headline Light"/>
        <a:ea typeface=""/>
        <a:cs typeface=""/>
      </a:majorFont>
      <a:minorFont>
        <a:latin typeface="Maersk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237600" tIns="237600" rIns="237600" bIns="2376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237600" tIns="237600" rIns="237600" bIns="23760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ersk New Template July 2019.pptx" id="{49BBB41D-CA20-4795-8791-789A2CC8836C}" vid="{F06BC87B-4534-4F50-B149-416A48A5DB9C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25</TotalTime>
  <Words>685</Words>
  <Application>Microsoft Office PowerPoint</Application>
  <PresentationFormat>Widescreen</PresentationFormat>
  <Paragraphs>155</Paragraphs>
  <Slides>7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Maersk Headline Light</vt:lpstr>
      <vt:lpstr>Oxygen</vt:lpstr>
      <vt:lpstr>Maersk Text Office Light</vt:lpstr>
      <vt:lpstr>Maersk Text Light</vt:lpstr>
      <vt:lpstr>Maersk Text</vt:lpstr>
      <vt:lpstr>Calibri</vt:lpstr>
      <vt:lpstr>Maersk Headline Office</vt:lpstr>
      <vt:lpstr>Courier New</vt:lpstr>
      <vt:lpstr>Arial</vt:lpstr>
      <vt:lpstr>Maersk Text Office</vt:lpstr>
      <vt:lpstr>Mærsk</vt:lpstr>
      <vt:lpstr>Manas Vaid Maersk  </vt:lpstr>
      <vt:lpstr>Technological advancements – Marine Insurance &amp; Claims </vt:lpstr>
      <vt:lpstr>PowerPoint Presentation</vt:lpstr>
      <vt:lpstr>Risk Landscape – Integrated Logistics</vt:lpstr>
      <vt:lpstr>Risk Management: Responsibilities &amp; Complexities!</vt:lpstr>
      <vt:lpstr>Possible Solutions leveraging Technology! </vt:lpstr>
      <vt:lpstr>THANK YOU and BE PREPARED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s Vaid Maersk</dc:title>
  <dc:creator>Manas Vaid</dc:creator>
  <cp:lastModifiedBy>Manas Vaid</cp:lastModifiedBy>
  <cp:revision>11</cp:revision>
  <dcterms:created xsi:type="dcterms:W3CDTF">2022-05-23T14:22:02Z</dcterms:created>
  <dcterms:modified xsi:type="dcterms:W3CDTF">2023-03-16T04:0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TemplafyTimeStamp">
    <vt:lpwstr>2019-04-17T09:18:37.9632116</vt:lpwstr>
  </property>
  <property fmtid="{D5CDD505-2E9C-101B-9397-08002B2CF9AE}" pid="4" name="MSIP_Label_455b24b8-e69b-4583-bfd0-d64b5cee0119_Enabled">
    <vt:lpwstr>true</vt:lpwstr>
  </property>
  <property fmtid="{D5CDD505-2E9C-101B-9397-08002B2CF9AE}" pid="5" name="MSIP_Label_455b24b8-e69b-4583-bfd0-d64b5cee0119_SetDate">
    <vt:lpwstr>2022-05-23T16:46:45Z</vt:lpwstr>
  </property>
  <property fmtid="{D5CDD505-2E9C-101B-9397-08002B2CF9AE}" pid="6" name="MSIP_Label_455b24b8-e69b-4583-bfd0-d64b5cee0119_Method">
    <vt:lpwstr>Privileged</vt:lpwstr>
  </property>
  <property fmtid="{D5CDD505-2E9C-101B-9397-08002B2CF9AE}" pid="7" name="MSIP_Label_455b24b8-e69b-4583-bfd0-d64b5cee0119_Name">
    <vt:lpwstr>Public</vt:lpwstr>
  </property>
  <property fmtid="{D5CDD505-2E9C-101B-9397-08002B2CF9AE}" pid="8" name="MSIP_Label_455b24b8-e69b-4583-bfd0-d64b5cee0119_SiteId">
    <vt:lpwstr>05d75c05-fa1a-42e7-9cf1-eb416c396f2d</vt:lpwstr>
  </property>
  <property fmtid="{D5CDD505-2E9C-101B-9397-08002B2CF9AE}" pid="9" name="MSIP_Label_455b24b8-e69b-4583-bfd0-d64b5cee0119_ActionId">
    <vt:lpwstr>939ea7a4-4b01-45f0-8d63-9d98ea35f2e1</vt:lpwstr>
  </property>
  <property fmtid="{D5CDD505-2E9C-101B-9397-08002B2CF9AE}" pid="10" name="MSIP_Label_455b24b8-e69b-4583-bfd0-d64b5cee0119_ContentBits">
    <vt:lpwstr>2</vt:lpwstr>
  </property>
</Properties>
</file>